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2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s Price Correlation Analysis P3Y" id="{2096F363-C578-4A20-9C26-B53BC4B7D964}">
          <p14:sldIdLst>
            <p14:sldId id="2147477365"/>
            <p14:sldId id="2147477366"/>
            <p14:sldId id="2147477367"/>
            <p14:sldId id="2147477368"/>
            <p14:sldId id="2147477369"/>
            <p14:sldId id="2147477370"/>
          </p14:sldIdLst>
        </p14:section>
        <p14:section name="Segments Price Correlation Analysis P3Y" id="{D9731452-755B-4E0A-8986-532D8284AC08}">
          <p14:sldIdLst>
            <p14:sldId id="2147477371"/>
            <p14:sldId id="2147477372"/>
            <p14:sldId id="2147477373"/>
            <p14:sldId id="2147477374"/>
            <p14:sldId id="2147477375"/>
            <p14:sldId id="2147477376"/>
            <p14:sldId id="2147477377"/>
            <p14:sldId id="2147477378"/>
            <p14:sldId id="2147477379"/>
            <p14:sldId id="2147477380"/>
            <p14:sldId id="2147477381"/>
            <p14:sldId id="214747738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notesMaster" Target="notesMasters/notes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2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42957934245339</c:v>
                </c:pt>
                <c:pt idx="1">
                  <c:v>1.0234922684311927</c:v>
                </c:pt>
                <c:pt idx="2">
                  <c:v>1.0305272332921167</c:v>
                </c:pt>
                <c:pt idx="3">
                  <c:v>0.8341599342878236</c:v>
                </c:pt>
                <c:pt idx="4">
                  <c:v>0.9789517258947903</c:v>
                </c:pt>
                <c:pt idx="5">
                  <c:v>0.890961262553802</c:v>
                </c:pt>
                <c:pt idx="6">
                  <c:v>0.8894163261029028</c:v>
                </c:pt>
                <c:pt idx="7">
                  <c:v>0.9295487032877272</c:v>
                </c:pt>
                <c:pt idx="8">
                  <c:v>0.897716894977169</c:v>
                </c:pt>
                <c:pt idx="9">
                  <c:v>1.1642781666886806</c:v>
                </c:pt>
                <c:pt idx="10">
                  <c:v>1.0832468296859117</c:v>
                </c:pt>
                <c:pt idx="11">
                  <c:v>1.0304843913809074</c:v>
                </c:pt>
                <c:pt idx="12">
                  <c:v>1.0843713179599395</c:v>
                </c:pt>
                <c:pt idx="13">
                  <c:v>0.9385373387570424</c:v>
                </c:pt>
                <c:pt idx="14">
                  <c:v>0.859841293542951</c:v>
                </c:pt>
                <c:pt idx="15">
                  <c:v>1.0372699694525775</c:v>
                </c:pt>
                <c:pt idx="16">
                  <c:v>1.018189057228474</c:v>
                </c:pt>
                <c:pt idx="17">
                  <c:v>1.0613019487768314</c:v>
                </c:pt>
                <c:pt idx="18">
                  <c:v>1.0190473247213467</c:v>
                </c:pt>
                <c:pt idx="19">
                  <c:v>0.998581330306838</c:v>
                </c:pt>
                <c:pt idx="20">
                  <c:v>1.0011713694631539</c:v>
                </c:pt>
                <c:pt idx="21">
                  <c:v>1.01636930048145</c:v>
                </c:pt>
                <c:pt idx="22">
                  <c:v>1.0358736645217692</c:v>
                </c:pt>
                <c:pt idx="23">
                  <c:v>0.9148264662022757</c:v>
                </c:pt>
                <c:pt idx="24">
                  <c:v>0.7705112232184801</c:v>
                </c:pt>
                <c:pt idx="25">
                  <c:v>0.8391096027151127</c:v>
                </c:pt>
                <c:pt idx="26">
                  <c:v>1.0251124623065895</c:v>
                </c:pt>
                <c:pt idx="27">
                  <c:v>1.0509480122324157</c:v>
                </c:pt>
                <c:pt idx="28">
                  <c:v>1.1275510204081634</c:v>
                </c:pt>
                <c:pt idx="29">
                  <c:v>1.1454878794051742</c:v>
                </c:pt>
                <c:pt idx="30">
                  <c:v>1.1971435546875</c:v>
                </c:pt>
                <c:pt idx="31">
                  <c:v>0.9510920847445843</c:v>
                </c:pt>
                <c:pt idx="32">
                  <c:v>0.7413353894804651</c:v>
                </c:pt>
                <c:pt idx="33">
                  <c:v>0.765187956529485</c:v>
                </c:pt>
                <c:pt idx="34">
                  <c:v>0.8296863942791166</c:v>
                </c:pt>
                <c:pt idx="35">
                  <c:v>0.9697145229337426</c:v>
                </c:pt>
                <c:pt idx="36">
                  <c:v>1.015922355938326</c:v>
                </c:pt>
                <c:pt idx="37">
                  <c:v>1.0009360929353066</c:v>
                </c:pt>
                <c:pt idx="38">
                  <c:v>1.0432596916971917</c:v>
                </c:pt>
                <c:pt idx="39">
                  <c:v>1.0746390706068123</c:v>
                </c:pt>
                <c:pt idx="40">
                  <c:v>0.9645888178215375</c:v>
                </c:pt>
                <c:pt idx="41">
                  <c:v>0.950835689925685</c:v>
                </c:pt>
                <c:pt idx="42">
                  <c:v>0.9474066390041495</c:v>
                </c:pt>
                <c:pt idx="43">
                  <c:v>0.8207849775092814</c:v>
                </c:pt>
                <c:pt idx="44">
                  <c:v>0.8503449495842915</c:v>
                </c:pt>
                <c:pt idx="45">
                  <c:v>0.7960791415764928</c:v>
                </c:pt>
                <c:pt idx="46">
                  <c:v>0.9834089016378273</c:v>
                </c:pt>
                <c:pt idx="47">
                  <c:v>0.9685488603024148</c:v>
                </c:pt>
                <c:pt idx="48">
                  <c:v>1.0459475617046716</c:v>
                </c:pt>
                <c:pt idx="49">
                  <c:v>0.9480943640682358</c:v>
                </c:pt>
                <c:pt idx="50">
                  <c:v>0.9522109616222683</c:v>
                </c:pt>
                <c:pt idx="51">
                  <c:v>1.0392816853613127</c:v>
                </c:pt>
                <c:pt idx="52">
                  <c:v>1.0160415084325443</c:v>
                </c:pt>
                <c:pt idx="53">
                  <c:v>1.0196831538122024</c:v>
                </c:pt>
                <c:pt idx="54">
                  <c:v>1.0840284558515831</c:v>
                </c:pt>
                <c:pt idx="55">
                  <c:v>0.8642320637570045</c:v>
                </c:pt>
                <c:pt idx="56">
                  <c:v>0.7477197784533989</c:v>
                </c:pt>
                <c:pt idx="57">
                  <c:v>0.8746571302858105</c:v>
                </c:pt>
                <c:pt idx="58">
                  <c:v>0.8910378365335536</c:v>
                </c:pt>
                <c:pt idx="59">
                  <c:v>1.0080548673066598</c:v>
                </c:pt>
                <c:pt idx="60">
                  <c:v>0.8887215388763375</c:v>
                </c:pt>
                <c:pt idx="61">
                  <c:v>0.8590104930395536</c:v>
                </c:pt>
                <c:pt idx="62">
                  <c:v>0.8432899379486557</c:v>
                </c:pt>
                <c:pt idx="63">
                  <c:v>1.0873302995106533</c:v>
                </c:pt>
                <c:pt idx="64">
                  <c:v>1.0833081887112002</c:v>
                </c:pt>
                <c:pt idx="65">
                  <c:v>0.9266939598908271</c:v>
                </c:pt>
                <c:pt idx="66">
                  <c:v>0.8443846777542666</c:v>
                </c:pt>
                <c:pt idx="67">
                  <c:v>1.1231028008136443</c:v>
                </c:pt>
                <c:pt idx="68">
                  <c:v>1.0851972857501886</c:v>
                </c:pt>
                <c:pt idx="69">
                  <c:v>1.1502727674841497</c:v>
                </c:pt>
                <c:pt idx="70">
                  <c:v>1.0610991389540239</c:v>
                </c:pt>
                <c:pt idx="71">
                  <c:v>1.0659427710261415</c:v>
                </c:pt>
                <c:pt idx="72">
                  <c:v>0.9686737673939186</c:v>
                </c:pt>
                <c:pt idx="73">
                  <c:v>1.0533247488567181</c:v>
                </c:pt>
                <c:pt idx="74">
                  <c:v>0.7085540381763199</c:v>
                </c:pt>
                <c:pt idx="75">
                  <c:v>0.8184108488987738</c:v>
                </c:pt>
                <c:pt idx="76">
                  <c:v>1.0273896936278013</c:v>
                </c:pt>
                <c:pt idx="77">
                  <c:v>1.0811193564833175</c:v>
                </c:pt>
                <c:pt idx="78">
                  <c:v>1.0976058215213396</c:v>
                </c:pt>
                <c:pt idx="79">
                  <c:v>0.8724079140398874</c:v>
                </c:pt>
                <c:pt idx="80">
                  <c:v>0.9092238415726529</c:v>
                </c:pt>
                <c:pt idx="81">
                  <c:v>0.9764885948454625</c:v>
                </c:pt>
                <c:pt idx="82">
                  <c:v>0.909783917005789</c:v>
                </c:pt>
                <c:pt idx="83">
                  <c:v>0.7734093137708377</c:v>
                </c:pt>
                <c:pt idx="84">
                  <c:v>0.7614137338414405</c:v>
                </c:pt>
                <c:pt idx="85">
                  <c:v>0.9120748169615619</c:v>
                </c:pt>
                <c:pt idx="86">
                  <c:v>1.010511206199522</c:v>
                </c:pt>
                <c:pt idx="87">
                  <c:v>0.9650316425625725</c:v>
                </c:pt>
                <c:pt idx="88">
                  <c:v>0.8608402831247624</c:v>
                </c:pt>
                <c:pt idx="89">
                  <c:v>1.0121281551191987</c:v>
                </c:pt>
                <c:pt idx="90">
                  <c:v>1.0274566205808668</c:v>
                </c:pt>
                <c:pt idx="91">
                  <c:v>0.9630608818263621</c:v>
                </c:pt>
                <c:pt idx="92">
                  <c:v>0.8955402654946955</c:v>
                </c:pt>
                <c:pt idx="93">
                  <c:v>0.9002097185257635</c:v>
                </c:pt>
                <c:pt idx="94">
                  <c:v>0.9240246214774754</c:v>
                </c:pt>
                <c:pt idx="95">
                  <c:v>0.821215271215271</c:v>
                </c:pt>
                <c:pt idx="96">
                  <c:v>0.79905048053774</c:v>
                </c:pt>
                <c:pt idx="97">
                  <c:v>0.9292886912254202</c:v>
                </c:pt>
                <c:pt idx="98">
                  <c:v>0.8560836729249648</c:v>
                </c:pt>
                <c:pt idx="99">
                  <c:v>0.9429498986065377</c:v>
                </c:pt>
                <c:pt idx="100">
                  <c:v>0.8717478562306149</c:v>
                </c:pt>
                <c:pt idx="101">
                  <c:v>0.9266970349048431</c:v>
                </c:pt>
                <c:pt idx="102">
                  <c:v>0.8321110748730373</c:v>
                </c:pt>
                <c:pt idx="103">
                  <c:v>0.8249046918760947</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7923306622547801</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7923306622547801</c:v>
                </c:pt>
                <c:pt idx="1">
                  <c:v>0.7923306622547801</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02039561552874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020395615528748</c:v>
                </c:pt>
                <c:pt idx="1">
                  <c:v>0.802039561552874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000230104323517</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000230104323517</c:v>
                </c:pt>
                <c:pt idx="1">
                  <c:v>1.000230104323517</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731531032511102</c:v>
                </c:pt>
                <c:pt idx="1">
                  <c:v>0.9939820117543234</c:v>
                </c:pt>
                <c:pt idx="2">
                  <c:v>0.9915848906847536</c:v>
                </c:pt>
                <c:pt idx="3">
                  <c:v>0.7472775031466045</c:v>
                </c:pt>
                <c:pt idx="4">
                  <c:v>0.7668142448201909</c:v>
                </c:pt>
                <c:pt idx="5">
                  <c:v>0.8606370607089168</c:v>
                </c:pt>
                <c:pt idx="6">
                  <c:v>0.9692531513322984</c:v>
                </c:pt>
                <c:pt idx="7">
                  <c:v>0.927768814653127</c:v>
                </c:pt>
                <c:pt idx="8">
                  <c:v>1.0010239666148244</c:v>
                </c:pt>
                <c:pt idx="9">
                  <c:v>0.7559555794375783</c:v>
                </c:pt>
                <c:pt idx="10">
                  <c:v>0.8003811524026214</c:v>
                </c:pt>
                <c:pt idx="11">
                  <c:v>1.0284681130834978</c:v>
                </c:pt>
                <c:pt idx="12">
                  <c:v>0.9711762328991168</c:v>
                </c:pt>
                <c:pt idx="13">
                  <c:v>0.8337807064295751</c:v>
                </c:pt>
                <c:pt idx="14">
                  <c:v>0.8715139841900404</c:v>
                </c:pt>
                <c:pt idx="15">
                  <c:v>1.0299126784699957</c:v>
                </c:pt>
                <c:pt idx="16">
                  <c:v>1.1404954584625135</c:v>
                </c:pt>
                <c:pt idx="17">
                  <c:v>1.0123733640269497</c:v>
                </c:pt>
                <c:pt idx="18">
                  <c:v>0.9990529936995091</c:v>
                </c:pt>
                <c:pt idx="19">
                  <c:v>0.9941689847342109</c:v>
                </c:pt>
                <c:pt idx="20">
                  <c:v>0.9322802148289658</c:v>
                </c:pt>
                <c:pt idx="21">
                  <c:v>1.0000735226541677</c:v>
                </c:pt>
                <c:pt idx="22">
                  <c:v>1.0714285714285716</c:v>
                </c:pt>
                <c:pt idx="23">
                  <c:v>0.9966172135504759</c:v>
                </c:pt>
                <c:pt idx="24">
                  <c:v>0.7911933768858023</c:v>
                </c:pt>
                <c:pt idx="25">
                  <c:v>0.8237450567214156</c:v>
                </c:pt>
                <c:pt idx="26">
                  <c:v>1.1214786847918106</c:v>
                </c:pt>
                <c:pt idx="27">
                  <c:v>0.9911483628387906</c:v>
                </c:pt>
                <c:pt idx="28">
                  <c:v>1.012520487629836</c:v>
                </c:pt>
                <c:pt idx="29">
                  <c:v>0.744085256866099</c:v>
                </c:pt>
                <c:pt idx="30">
                  <c:v>0.7603651987110635</c:v>
                </c:pt>
                <c:pt idx="31">
                  <c:v>0.7639145419578423</c:v>
                </c:pt>
                <c:pt idx="32">
                  <c:v>0.7980523011518117</c:v>
                </c:pt>
                <c:pt idx="33">
                  <c:v>0.9579886768868792</c:v>
                </c:pt>
                <c:pt idx="34">
                  <c:v>1.0200685266764562</c:v>
                </c:pt>
                <c:pt idx="35">
                  <c:v>0.9971741400285461</c:v>
                </c:pt>
                <c:pt idx="36">
                  <c:v>0.899888011849069</c:v>
                </c:pt>
                <c:pt idx="37">
                  <c:v>0.9146556361410473</c:v>
                </c:pt>
                <c:pt idx="38">
                  <c:v>1.0610166614805805</c:v>
                </c:pt>
                <c:pt idx="39">
                  <c:v>1.005679843415589</c:v>
                </c:pt>
                <c:pt idx="40">
                  <c:v>0.9139503149371482</c:v>
                </c:pt>
                <c:pt idx="41">
                  <c:v>0.9786763749837473</c:v>
                </c:pt>
                <c:pt idx="42">
                  <c:v>0.9343346848507188</c:v>
                </c:pt>
                <c:pt idx="43">
                  <c:v>0.8499366494389602</c:v>
                </c:pt>
                <c:pt idx="44">
                  <c:v>0.885784110296491</c:v>
                </c:pt>
                <c:pt idx="45">
                  <c:v>0.9596155598068689</c:v>
                </c:pt>
                <c:pt idx="46">
                  <c:v>0.952871883763352</c:v>
                </c:pt>
                <c:pt idx="47">
                  <c:v>0.9658243762505976</c:v>
                </c:pt>
                <c:pt idx="48">
                  <c:v>0.8542517022059154</c:v>
                </c:pt>
                <c:pt idx="49">
                  <c:v>0.9802084813183691</c:v>
                </c:pt>
                <c:pt idx="50">
                  <c:v>0.7425811377733547</c:v>
                </c:pt>
                <c:pt idx="51">
                  <c:v>0.8452206496132371</c:v>
                </c:pt>
                <c:pt idx="52">
                  <c:v>0.8020395615528748</c:v>
                </c:pt>
                <c:pt idx="53">
                  <c:v>0.7923306622547801</c:v>
                </c:pt>
                <c:pt idx="54">
                  <c:v>1.000230104323517</c:v>
                </c:pt>
              </c:numCache>
            </c:numRef>
          </c:xVal>
          <c:yVal>
            <c:numRef>
              <c:f>Sheet1!$B$186:$B$240</c:f>
              <c:numCache>
                <c:formatCode>General</c:formatCode>
                <c:ptCount val="55"/>
                <c:pt idx="0">
                  <c:v>0.04640202501231189</c:v>
                </c:pt>
                <c:pt idx="1">
                  <c:v>0.042325291025259254</c:v>
                </c:pt>
                <c:pt idx="2">
                  <c:v>0.04279446707132464</c:v>
                </c:pt>
                <c:pt idx="3">
                  <c:v>0.09061148205850755</c:v>
                </c:pt>
                <c:pt idx="4">
                  <c:v>0.08678765716798628</c:v>
                </c:pt>
                <c:pt idx="5">
                  <c:v>0.06842420513037503</c:v>
                </c:pt>
                <c:pt idx="6">
                  <c:v>0.04716534232837952</c:v>
                </c:pt>
                <c:pt idx="7">
                  <c:v>0.05528485589982865</c:v>
                </c:pt>
                <c:pt idx="8">
                  <c:v>0.0409470058063931</c:v>
                </c:pt>
                <c:pt idx="9">
                  <c:v>0.0889129672970552</c:v>
                </c:pt>
                <c:pt idx="10">
                  <c:v>0.0802177808367115</c:v>
                </c:pt>
                <c:pt idx="11">
                  <c:v>0.035575505680151165</c:v>
                </c:pt>
                <c:pt idx="12">
                  <c:v>0.04678894757000254</c:v>
                </c:pt>
                <c:pt idx="13">
                  <c:v>0.07368065974690127</c:v>
                </c:pt>
                <c:pt idx="14">
                  <c:v>0.06629532143859507</c:v>
                </c:pt>
                <c:pt idx="15">
                  <c:v>0.03529276840629225</c:v>
                </c:pt>
                <c:pt idx="16">
                  <c:v>0.013648975717457212</c:v>
                </c:pt>
                <c:pt idx="17">
                  <c:v>0.038725647248145034</c:v>
                </c:pt>
                <c:pt idx="18">
                  <c:v>0.041332774089459234</c:v>
                </c:pt>
                <c:pt idx="19">
                  <c:v>0.04228869577584185</c:v>
                </c:pt>
                <c:pt idx="20">
                  <c:v>0.054401862994885974</c:v>
                </c:pt>
                <c:pt idx="21">
                  <c:v>0.04113303126214851</c:v>
                </c:pt>
                <c:pt idx="22">
                  <c:v>0.027167078488313318</c:v>
                </c:pt>
                <c:pt idx="23">
                  <c:v>0.04180951667618765</c:v>
                </c:pt>
                <c:pt idx="24">
                  <c:v>0.0820160563780846</c:v>
                </c:pt>
                <c:pt idx="25">
                  <c:v>0.07564488529626681</c:v>
                </c:pt>
                <c:pt idx="26">
                  <c:v>0.017371029973707958</c:v>
                </c:pt>
                <c:pt idx="27">
                  <c:v>0.04287990639742556</c:v>
                </c:pt>
                <c:pt idx="28">
                  <c:v>0.03869685151014027</c:v>
                </c:pt>
                <c:pt idx="29">
                  <c:v>0.09123628382883417</c:v>
                </c:pt>
                <c:pt idx="30">
                  <c:v>0.08804989543904562</c:v>
                </c:pt>
                <c:pt idx="31">
                  <c:v>0.08735520093579663</c:v>
                </c:pt>
                <c:pt idx="32">
                  <c:v>0.08067359478603589</c:v>
                </c:pt>
                <c:pt idx="33">
                  <c:v>0.04937007935580667</c:v>
                </c:pt>
                <c:pt idx="34">
                  <c:v>0.037219513064287</c:v>
                </c:pt>
                <c:pt idx="35">
                  <c:v>0.04170051235168895</c:v>
                </c:pt>
                <c:pt idx="36">
                  <c:v>0.060741820500738036</c:v>
                </c:pt>
                <c:pt idx="37">
                  <c:v>0.05785143016416114</c:v>
                </c:pt>
                <c:pt idx="38">
                  <c:v>0.029204947498518957</c:v>
                </c:pt>
                <c:pt idx="39">
                  <c:v>0.04003573524268217</c:v>
                </c:pt>
                <c:pt idx="40">
                  <c:v>0.05798947901695056</c:v>
                </c:pt>
                <c:pt idx="41">
                  <c:v>0.04532098374753821</c:v>
                </c:pt>
                <c:pt idx="42">
                  <c:v>0.05399975225721726</c:v>
                </c:pt>
                <c:pt idx="43">
                  <c:v>0.0705185410046213</c:v>
                </c:pt>
                <c:pt idx="44">
                  <c:v>0.06350230383574185</c:v>
                </c:pt>
                <c:pt idx="45">
                  <c:v>0.049051658018853056</c:v>
                </c:pt>
                <c:pt idx="46">
                  <c:v>0.05037156267540463</c:v>
                </c:pt>
                <c:pt idx="47">
                  <c:v>0.047836438651423646</c:v>
                </c:pt>
                <c:pt idx="48">
                  <c:v>0.06967397815735266</c:v>
                </c:pt>
                <c:pt idx="49">
                  <c:v>0.04502111253896443</c:v>
                </c:pt>
                <c:pt idx="50">
                  <c:v>0.09153067724004052</c:v>
                </c:pt>
                <c:pt idx="51">
                  <c:v>0.0714415791354717</c:v>
                </c:pt>
                <c:pt idx="52">
                  <c:v>0.07989318903459022</c:v>
                </c:pt>
                <c:pt idx="53">
                  <c:v>0.08179346142473048</c:v>
                </c:pt>
                <c:pt idx="54">
                  <c:v>0.04110238434596047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34748386246871</c:v>
                </c:pt>
                <c:pt idx="1">
                  <c:v>1.2179535594102198</c:v>
                </c:pt>
                <c:pt idx="2">
                  <c:v>1.2517423789858273</c:v>
                </c:pt>
                <c:pt idx="3">
                  <c:v>1.2130703622894692</c:v>
                </c:pt>
                <c:pt idx="4">
                  <c:v>1.223236717936148</c:v>
                </c:pt>
                <c:pt idx="5">
                  <c:v>1.192056023076334</c:v>
                </c:pt>
                <c:pt idx="6">
                  <c:v>1.1790160702297083</c:v>
                </c:pt>
                <c:pt idx="7">
                  <c:v>0.9286406725861108</c:v>
                </c:pt>
                <c:pt idx="8">
                  <c:v>1.1881786729695476</c:v>
                </c:pt>
                <c:pt idx="9">
                  <c:v>1.3401304452556098</c:v>
                </c:pt>
                <c:pt idx="10">
                  <c:v>1.2685389020935474</c:v>
                </c:pt>
                <c:pt idx="11">
                  <c:v>1.0792305892576626</c:v>
                </c:pt>
                <c:pt idx="12">
                  <c:v>1.0576009601568708</c:v>
                </c:pt>
                <c:pt idx="13">
                  <c:v>1.1675468152659885</c:v>
                </c:pt>
                <c:pt idx="14">
                  <c:v>1.257714161205437</c:v>
                </c:pt>
                <c:pt idx="15">
                  <c:v>1.2535310151152228</c:v>
                </c:pt>
                <c:pt idx="16">
                  <c:v>1.1724204762943042</c:v>
                </c:pt>
                <c:pt idx="17">
                  <c:v>1.2164664894104702</c:v>
                </c:pt>
                <c:pt idx="18">
                  <c:v>1.1922298111691443</c:v>
                </c:pt>
                <c:pt idx="19">
                  <c:v>1.2628287738174522</c:v>
                </c:pt>
                <c:pt idx="20">
                  <c:v>1.1651313574320765</c:v>
                </c:pt>
                <c:pt idx="21">
                  <c:v>1.2657173396464758</c:v>
                </c:pt>
                <c:pt idx="22">
                  <c:v>1.1925316133412545</c:v>
                </c:pt>
                <c:pt idx="23">
                  <c:v>1.2349437855624872</c:v>
                </c:pt>
                <c:pt idx="24">
                  <c:v>1.2060682893847194</c:v>
                </c:pt>
                <c:pt idx="25">
                  <c:v>1.2365858250466393</c:v>
                </c:pt>
                <c:pt idx="26">
                  <c:v>1.1858257206023444</c:v>
                </c:pt>
                <c:pt idx="27">
                  <c:v>1.0839277076645706</c:v>
                </c:pt>
                <c:pt idx="28">
                  <c:v>1.0241262232873976</c:v>
                </c:pt>
                <c:pt idx="29">
                  <c:v>1.2091190020897375</c:v>
                </c:pt>
                <c:pt idx="30">
                  <c:v>1.2286872724908997</c:v>
                </c:pt>
                <c:pt idx="31">
                  <c:v>1.138101129948132</c:v>
                </c:pt>
                <c:pt idx="32">
                  <c:v>1.122617680826636</c:v>
                </c:pt>
                <c:pt idx="33">
                  <c:v>1.2759993379127699</c:v>
                </c:pt>
                <c:pt idx="34">
                  <c:v>1.0949703036092537</c:v>
                </c:pt>
                <c:pt idx="35">
                  <c:v>0.989094315216664</c:v>
                </c:pt>
                <c:pt idx="36">
                  <c:v>1.2069163584861122</c:v>
                </c:pt>
                <c:pt idx="37">
                  <c:v>1.2103895293024998</c:v>
                </c:pt>
                <c:pt idx="38">
                  <c:v>1.3001559937602496</c:v>
                </c:pt>
                <c:pt idx="39">
                  <c:v>1.2370623385268897</c:v>
                </c:pt>
                <c:pt idx="40">
                  <c:v>1.2318845074353766</c:v>
                </c:pt>
                <c:pt idx="41">
                  <c:v>1.174142440092446</c:v>
                </c:pt>
                <c:pt idx="42">
                  <c:v>1.0734762875138941</c:v>
                </c:pt>
                <c:pt idx="43">
                  <c:v>1.2740718213030917</c:v>
                </c:pt>
                <c:pt idx="44">
                  <c:v>1.1781201939704335</c:v>
                </c:pt>
                <c:pt idx="45">
                  <c:v>1.2653226313144008</c:v>
                </c:pt>
                <c:pt idx="46">
                  <c:v>1.3093805963556935</c:v>
                </c:pt>
                <c:pt idx="47">
                  <c:v>1.249168782374256</c:v>
                </c:pt>
                <c:pt idx="48">
                  <c:v>1.374566634308695</c:v>
                </c:pt>
                <c:pt idx="49">
                  <c:v>1.2765200415630216</c:v>
                </c:pt>
                <c:pt idx="50">
                  <c:v>1.2318624745806277</c:v>
                </c:pt>
                <c:pt idx="51">
                  <c:v>1.3539140997691201</c:v>
                </c:pt>
                <c:pt idx="52">
                  <c:v>1.2315491221741224</c:v>
                </c:pt>
                <c:pt idx="53">
                  <c:v>1.318261316047045</c:v>
                </c:pt>
                <c:pt idx="54">
                  <c:v>1.2910543156356937</c:v>
                </c:pt>
                <c:pt idx="55">
                  <c:v>1.3175265063356607</c:v>
                </c:pt>
                <c:pt idx="56">
                  <c:v>1.3228454957799851</c:v>
                </c:pt>
                <c:pt idx="57">
                  <c:v>1.2887014598141486</c:v>
                </c:pt>
                <c:pt idx="58">
                  <c:v>1.269403498465653</c:v>
                </c:pt>
                <c:pt idx="59">
                  <c:v>1.261966211187992</c:v>
                </c:pt>
                <c:pt idx="60">
                  <c:v>1.2754691896237207</c:v>
                </c:pt>
                <c:pt idx="61">
                  <c:v>1.282464797207847</c:v>
                </c:pt>
                <c:pt idx="62">
                  <c:v>1.3439436595902978</c:v>
                </c:pt>
                <c:pt idx="63">
                  <c:v>0.9916914342467074</c:v>
                </c:pt>
                <c:pt idx="64">
                  <c:v>1.194043424825891</c:v>
                </c:pt>
                <c:pt idx="65">
                  <c:v>1.2370993679048512</c:v>
                </c:pt>
                <c:pt idx="66">
                  <c:v>1.1375650938930093</c:v>
                </c:pt>
                <c:pt idx="67">
                  <c:v>1.1042907606312147</c:v>
                </c:pt>
                <c:pt idx="68">
                  <c:v>1.2536868834847155</c:v>
                </c:pt>
                <c:pt idx="69">
                  <c:v>1.255954222084751</c:v>
                </c:pt>
                <c:pt idx="70">
                  <c:v>1.1241468538076305</c:v>
                </c:pt>
                <c:pt idx="71">
                  <c:v>1.1587847171436465</c:v>
                </c:pt>
                <c:pt idx="72">
                  <c:v>1.1157761718595742</c:v>
                </c:pt>
                <c:pt idx="73">
                  <c:v>1.286525234443665</c:v>
                </c:pt>
                <c:pt idx="74">
                  <c:v>1.263225356340302</c:v>
                </c:pt>
                <c:pt idx="75">
                  <c:v>1.2505110940965671</c:v>
                </c:pt>
                <c:pt idx="76">
                  <c:v>1.2784335108089038</c:v>
                </c:pt>
                <c:pt idx="77">
                  <c:v>1.3061154025277428</c:v>
                </c:pt>
                <c:pt idx="78">
                  <c:v>1.2580711527505222</c:v>
                </c:pt>
                <c:pt idx="79">
                  <c:v>1.041139214442788</c:v>
                </c:pt>
                <c:pt idx="80">
                  <c:v>1.1275938263195493</c:v>
                </c:pt>
                <c:pt idx="81">
                  <c:v>1.278689977441186</c:v>
                </c:pt>
                <c:pt idx="82">
                  <c:v>1.2842057006820229</c:v>
                </c:pt>
                <c:pt idx="83">
                  <c:v>1.2733208649145258</c:v>
                </c:pt>
                <c:pt idx="84">
                  <c:v>1.2445010643101335</c:v>
                </c:pt>
                <c:pt idx="85">
                  <c:v>1.1048931703903797</c:v>
                </c:pt>
                <c:pt idx="86">
                  <c:v>1.1914150462696627</c:v>
                </c:pt>
                <c:pt idx="87">
                  <c:v>1.2772750389499261</c:v>
                </c:pt>
                <c:pt idx="88">
                  <c:v>1.270203089046736</c:v>
                </c:pt>
                <c:pt idx="89">
                  <c:v>1.1904078922405616</c:v>
                </c:pt>
                <c:pt idx="90">
                  <c:v>1.3014732830022722</c:v>
                </c:pt>
                <c:pt idx="91">
                  <c:v>1.2663442493855246</c:v>
                </c:pt>
                <c:pt idx="92">
                  <c:v>1.2019821782822204</c:v>
                </c:pt>
                <c:pt idx="93">
                  <c:v>1.1473858245075956</c:v>
                </c:pt>
                <c:pt idx="94">
                  <c:v>1.281723606473157</c:v>
                </c:pt>
                <c:pt idx="95">
                  <c:v>1.2966446820273627</c:v>
                </c:pt>
                <c:pt idx="96">
                  <c:v>1.3125480081179202</c:v>
                </c:pt>
                <c:pt idx="97">
                  <c:v>1.3139417684066783</c:v>
                </c:pt>
                <c:pt idx="98">
                  <c:v>1.0830061510273523</c:v>
                </c:pt>
                <c:pt idx="99">
                  <c:v>1.308058261917951</c:v>
                </c:pt>
                <c:pt idx="100">
                  <c:v>1.3042957091834237</c:v>
                </c:pt>
                <c:pt idx="101">
                  <c:v>1.046316132637854</c:v>
                </c:pt>
                <c:pt idx="102">
                  <c:v>1.1525953515846123</c:v>
                </c:pt>
                <c:pt idx="103">
                  <c:v>1.311973073655316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1734737662964718</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1734737662964718</c:v>
                </c:pt>
                <c:pt idx="1">
                  <c:v>1.1734737662964718</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1734737662964718</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1734737662964718</c:v>
                </c:pt>
                <c:pt idx="1">
                  <c:v>1.1734737662964718</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3474382727756522</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3474382727756522</c:v>
                </c:pt>
                <c:pt idx="1">
                  <c:v>1.3474382727756522</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3436121940308046</c:v>
                </c:pt>
                <c:pt idx="1">
                  <c:v>1.332188889971105</c:v>
                </c:pt>
                <c:pt idx="2">
                  <c:v>1.3883929310830283</c:v>
                </c:pt>
                <c:pt idx="3">
                  <c:v>1.282837573706946</c:v>
                </c:pt>
                <c:pt idx="4">
                  <c:v>1.2384588684484554</c:v>
                </c:pt>
                <c:pt idx="5">
                  <c:v>1.3270055619375045</c:v>
                </c:pt>
                <c:pt idx="6">
                  <c:v>1.2965287793365674</c:v>
                </c:pt>
                <c:pt idx="7">
                  <c:v>1.303983556012333</c:v>
                </c:pt>
                <c:pt idx="8">
                  <c:v>1.2103050480024775</c:v>
                </c:pt>
                <c:pt idx="9">
                  <c:v>1.2868813950710674</c:v>
                </c:pt>
                <c:pt idx="10">
                  <c:v>1.2740177356696774</c:v>
                </c:pt>
                <c:pt idx="11">
                  <c:v>1.1070144868978173</c:v>
                </c:pt>
                <c:pt idx="12">
                  <c:v>1.1085807673509285</c:v>
                </c:pt>
                <c:pt idx="13">
                  <c:v>1.2774056230200632</c:v>
                </c:pt>
                <c:pt idx="14">
                  <c:v>1.1823383700767895</c:v>
                </c:pt>
                <c:pt idx="15">
                  <c:v>1.0997285721974888</c:v>
                </c:pt>
                <c:pt idx="16">
                  <c:v>1.2952901702497825</c:v>
                </c:pt>
                <c:pt idx="17">
                  <c:v>1.2414834357095745</c:v>
                </c:pt>
                <c:pt idx="18">
                  <c:v>1.2538047314283902</c:v>
                </c:pt>
                <c:pt idx="19">
                  <c:v>1.1018606535018474</c:v>
                </c:pt>
                <c:pt idx="20">
                  <c:v>1.0966166553314922</c:v>
                </c:pt>
                <c:pt idx="21">
                  <c:v>1.319282798637115</c:v>
                </c:pt>
                <c:pt idx="22">
                  <c:v>1.2733643130320353</c:v>
                </c:pt>
                <c:pt idx="23">
                  <c:v>1.2484920932558283</c:v>
                </c:pt>
                <c:pt idx="24">
                  <c:v>1.2568474096682405</c:v>
                </c:pt>
                <c:pt idx="25">
                  <c:v>1.250431681832419</c:v>
                </c:pt>
                <c:pt idx="26">
                  <c:v>1.2284763078228655</c:v>
                </c:pt>
                <c:pt idx="27">
                  <c:v>1.1539466303389696</c:v>
                </c:pt>
                <c:pt idx="28">
                  <c:v>1.145601286068142</c:v>
                </c:pt>
                <c:pt idx="29">
                  <c:v>1.2709488290830897</c:v>
                </c:pt>
                <c:pt idx="30">
                  <c:v>1.2295620171691215</c:v>
                </c:pt>
                <c:pt idx="31">
                  <c:v>1.192174517941864</c:v>
                </c:pt>
                <c:pt idx="32">
                  <c:v>1.195744680851064</c:v>
                </c:pt>
                <c:pt idx="33">
                  <c:v>1.2320256758008947</c:v>
                </c:pt>
                <c:pt idx="34">
                  <c:v>1.1978539264320096</c:v>
                </c:pt>
                <c:pt idx="35">
                  <c:v>1.344167246463241</c:v>
                </c:pt>
                <c:pt idx="36">
                  <c:v>1.130326536010768</c:v>
                </c:pt>
                <c:pt idx="37">
                  <c:v>1.1876127237288</c:v>
                </c:pt>
                <c:pt idx="38">
                  <c:v>1.360111603641977</c:v>
                </c:pt>
                <c:pt idx="39">
                  <c:v>1.328754645781996</c:v>
                </c:pt>
                <c:pt idx="40">
                  <c:v>1.4255831846659848</c:v>
                </c:pt>
                <c:pt idx="41">
                  <c:v>1.3223525353570196</c:v>
                </c:pt>
                <c:pt idx="42">
                  <c:v>1.3338574978612456</c:v>
                </c:pt>
                <c:pt idx="43">
                  <c:v>1.3109628977466217</c:v>
                </c:pt>
                <c:pt idx="44">
                  <c:v>1.3161480699565773</c:v>
                </c:pt>
                <c:pt idx="45">
                  <c:v>1.2541388033160519</c:v>
                </c:pt>
                <c:pt idx="46">
                  <c:v>1.2185663384544654</c:v>
                </c:pt>
                <c:pt idx="47">
                  <c:v>1.4162566407846342</c:v>
                </c:pt>
                <c:pt idx="48">
                  <c:v>1.4337225618923524</c:v>
                </c:pt>
                <c:pt idx="49">
                  <c:v>1.3549611807866224</c:v>
                </c:pt>
                <c:pt idx="50">
                  <c:v>1.3815173099752944</c:v>
                </c:pt>
                <c:pt idx="51">
                  <c:v>1.3450999875791827</c:v>
                </c:pt>
                <c:pt idx="52">
                  <c:v>1.1734737662964718</c:v>
                </c:pt>
                <c:pt idx="53">
                  <c:v>1.1734737662964718</c:v>
                </c:pt>
                <c:pt idx="54">
                  <c:v>1.3474382727756522</c:v>
                </c:pt>
              </c:numCache>
            </c:numRef>
          </c:xVal>
          <c:yVal>
            <c:numRef>
              <c:f>Sheet1!$B$186:$B$240</c:f>
              <c:numCache>
                <c:formatCode>General</c:formatCode>
                <c:ptCount val="55"/>
                <c:pt idx="0">
                  <c:v>0.017335297408709205</c:v>
                </c:pt>
                <c:pt idx="1">
                  <c:v>0.017883243595053902</c:v>
                </c:pt>
                <c:pt idx="2">
                  <c:v>0.015187281916760956</c:v>
                </c:pt>
                <c:pt idx="3">
                  <c:v>0.020250497884768355</c:v>
                </c:pt>
                <c:pt idx="4">
                  <c:v>0.022379228957163905</c:v>
                </c:pt>
                <c:pt idx="5">
                  <c:v>0.018131874360175937</c:v>
                </c:pt>
                <c:pt idx="6">
                  <c:v>0.019593766358407386</c:v>
                </c:pt>
                <c:pt idx="7">
                  <c:v>0.019236180109438672</c:v>
                </c:pt>
                <c:pt idx="8">
                  <c:v>0.023729694502314796</c:v>
                </c:pt>
                <c:pt idx="9">
                  <c:v>0.0200565262909852</c:v>
                </c:pt>
                <c:pt idx="10">
                  <c:v>0.020673562577036224</c:v>
                </c:pt>
                <c:pt idx="11">
                  <c:v>0.028684274083398777</c:v>
                </c:pt>
                <c:pt idx="12">
                  <c:v>0.02860914368359998</c:v>
                </c:pt>
                <c:pt idx="13">
                  <c:v>0.020511054431957734</c:v>
                </c:pt>
                <c:pt idx="14">
                  <c:v>0.025071183307482245</c:v>
                </c:pt>
                <c:pt idx="15">
                  <c:v>0.029033760462577128</c:v>
                </c:pt>
                <c:pt idx="16">
                  <c:v>0.01965317921496173</c:v>
                </c:pt>
                <c:pt idx="17">
                  <c:v>0.02223414833185515</c:v>
                </c:pt>
                <c:pt idx="18">
                  <c:v>0.021643127821093427</c:v>
                </c:pt>
                <c:pt idx="19">
                  <c:v>0.02893149006746249</c:v>
                </c:pt>
                <c:pt idx="20">
                  <c:v>0.029183031021255516</c:v>
                </c:pt>
                <c:pt idx="21">
                  <c:v>0.018502315230555996</c:v>
                </c:pt>
                <c:pt idx="22">
                  <c:v>0.020704905561561196</c:v>
                </c:pt>
                <c:pt idx="23">
                  <c:v>0.021897961257275375</c:v>
                </c:pt>
                <c:pt idx="24">
                  <c:v>0.021497178459237452</c:v>
                </c:pt>
                <c:pt idx="25">
                  <c:v>0.021804924237682245</c:v>
                </c:pt>
                <c:pt idx="26">
                  <c:v>0.022858066428018235</c:v>
                </c:pt>
                <c:pt idx="27">
                  <c:v>0.02643306122228918</c:v>
                </c:pt>
                <c:pt idx="28">
                  <c:v>0.02683336568263056</c:v>
                </c:pt>
                <c:pt idx="29">
                  <c:v>0.020820770044471262</c:v>
                </c:pt>
                <c:pt idx="30">
                  <c:v>0.022805987774359833</c:v>
                </c:pt>
                <c:pt idx="31">
                  <c:v>0.024599368875963763</c:v>
                </c:pt>
                <c:pt idx="32">
                  <c:v>0.02442811744638597</c:v>
                </c:pt>
                <c:pt idx="33">
                  <c:v>0.022687812477205846</c:v>
                </c:pt>
                <c:pt idx="34">
                  <c:v>0.02432694242153296</c:v>
                </c:pt>
                <c:pt idx="35">
                  <c:v>0.01730867298708956</c:v>
                </c:pt>
                <c:pt idx="36">
                  <c:v>0.02756605571675423</c:v>
                </c:pt>
                <c:pt idx="37">
                  <c:v>0.024818186280181877</c:v>
                </c:pt>
                <c:pt idx="38">
                  <c:v>0.016543863640849005</c:v>
                </c:pt>
                <c:pt idx="39">
                  <c:v>0.018047975357122395</c:v>
                </c:pt>
                <c:pt idx="40">
                  <c:v>0.013403362175723368</c:v>
                </c:pt>
                <c:pt idx="41">
                  <c:v>0.018355067943784734</c:v>
                </c:pt>
                <c:pt idx="42">
                  <c:v>0.017803204814231033</c:v>
                </c:pt>
                <c:pt idx="43">
                  <c:v>0.018901399238115138</c:v>
                </c:pt>
                <c:pt idx="44">
                  <c:v>0.018652680012649622</c:v>
                </c:pt>
                <c:pt idx="45">
                  <c:v>0.021627103261486806</c:v>
                </c:pt>
                <c:pt idx="46">
                  <c:v>0.023333421885058422</c:v>
                </c:pt>
                <c:pt idx="47">
                  <c:v>0.013850732229505933</c:v>
                </c:pt>
                <c:pt idx="48">
                  <c:v>0.01301293741883161</c:v>
                </c:pt>
                <c:pt idx="49">
                  <c:v>0.016790916030149428</c:v>
                </c:pt>
                <c:pt idx="50">
                  <c:v>0.01551708757938225</c:v>
                </c:pt>
                <c:pt idx="51">
                  <c:v>0.017263931821603976</c:v>
                </c:pt>
                <c:pt idx="52">
                  <c:v>0.02549639529601873</c:v>
                </c:pt>
                <c:pt idx="53">
                  <c:v>0.02549639529601873</c:v>
                </c:pt>
                <c:pt idx="54">
                  <c:v>0.01715177036207391</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7840677809300604</c:v>
                </c:pt>
                <c:pt idx="1">
                  <c:v>0.6608786270231544</c:v>
                </c:pt>
                <c:pt idx="2">
                  <c:v>0.7056855723050443</c:v>
                </c:pt>
                <c:pt idx="3">
                  <c:v>0.6567585710075641</c:v>
                </c:pt>
                <c:pt idx="4">
                  <c:v>0.746648424597649</c:v>
                </c:pt>
                <c:pt idx="5">
                  <c:v>0.6267444055588632</c:v>
                </c:pt>
                <c:pt idx="6">
                  <c:v>0.5409175785307783</c:v>
                </c:pt>
                <c:pt idx="7">
                  <c:v>0.5875463648591731</c:v>
                </c:pt>
                <c:pt idx="8">
                  <c:v>0.5897944489934211</c:v>
                </c:pt>
                <c:pt idx="9">
                  <c:v>0.7506280248087541</c:v>
                </c:pt>
                <c:pt idx="10">
                  <c:v>0.6744444814605057</c:v>
                </c:pt>
                <c:pt idx="11">
                  <c:v>0.6425656420769362</c:v>
                </c:pt>
                <c:pt idx="12">
                  <c:v>0.6393658197697499</c:v>
                </c:pt>
                <c:pt idx="13">
                  <c:v>0.6282151151362487</c:v>
                </c:pt>
                <c:pt idx="14">
                  <c:v>0.604402360120855</c:v>
                </c:pt>
                <c:pt idx="15">
                  <c:v>0.6418158392141218</c:v>
                </c:pt>
                <c:pt idx="16">
                  <c:v>0.6425161657167794</c:v>
                </c:pt>
                <c:pt idx="17">
                  <c:v>0.6772112397053037</c:v>
                </c:pt>
                <c:pt idx="18">
                  <c:v>0.7329421265939081</c:v>
                </c:pt>
                <c:pt idx="19">
                  <c:v>0.6528124648069267</c:v>
                </c:pt>
                <c:pt idx="20">
                  <c:v>0.6924685235640408</c:v>
                </c:pt>
                <c:pt idx="21">
                  <c:v>0.6822511041968988</c:v>
                </c:pt>
                <c:pt idx="22">
                  <c:v>0.6343856416258382</c:v>
                </c:pt>
                <c:pt idx="23">
                  <c:v>0.6099050757895597</c:v>
                </c:pt>
                <c:pt idx="24">
                  <c:v>0.5714480470791393</c:v>
                </c:pt>
                <c:pt idx="25">
                  <c:v>0.6413959911796797</c:v>
                </c:pt>
                <c:pt idx="26">
                  <c:v>0.6450599426392181</c:v>
                </c:pt>
                <c:pt idx="27">
                  <c:v>0.5999092263290196</c:v>
                </c:pt>
                <c:pt idx="28">
                  <c:v>0.7001141930968432</c:v>
                </c:pt>
                <c:pt idx="29">
                  <c:v>0.6862540501949584</c:v>
                </c:pt>
                <c:pt idx="30">
                  <c:v>0.7406959838371632</c:v>
                </c:pt>
                <c:pt idx="31">
                  <c:v>0.637614281814126</c:v>
                </c:pt>
                <c:pt idx="32">
                  <c:v>0.4900607132027021</c:v>
                </c:pt>
                <c:pt idx="33">
                  <c:v>0.4714628092621616</c:v>
                </c:pt>
                <c:pt idx="34">
                  <c:v>0.5556213755689968</c:v>
                </c:pt>
                <c:pt idx="35">
                  <c:v>0.5920974292771205</c:v>
                </c:pt>
                <c:pt idx="36">
                  <c:v>0.7809956007658467</c:v>
                </c:pt>
                <c:pt idx="37">
                  <c:v>0.8070510449766399</c:v>
                </c:pt>
                <c:pt idx="38">
                  <c:v>0.6698207964330773</c:v>
                </c:pt>
                <c:pt idx="39">
                  <c:v>0.6950545609289035</c:v>
                </c:pt>
                <c:pt idx="40">
                  <c:v>0.6648957077721294</c:v>
                </c:pt>
                <c:pt idx="41">
                  <c:v>0.6211967763517287</c:v>
                </c:pt>
                <c:pt idx="42">
                  <c:v>0.6428809112433609</c:v>
                </c:pt>
                <c:pt idx="43">
                  <c:v>0.670268660363814</c:v>
                </c:pt>
                <c:pt idx="44">
                  <c:v>0.6063440638920792</c:v>
                </c:pt>
                <c:pt idx="45">
                  <c:v>0.5856041884537757</c:v>
                </c:pt>
                <c:pt idx="46">
                  <c:v>0.6797508106967195</c:v>
                </c:pt>
                <c:pt idx="47">
                  <c:v>0.6924635829122053</c:v>
                </c:pt>
                <c:pt idx="48">
                  <c:v>0.6323244260357745</c:v>
                </c:pt>
                <c:pt idx="49">
                  <c:v>0.6132728838811807</c:v>
                </c:pt>
                <c:pt idx="50">
                  <c:v>0.6031409492150563</c:v>
                </c:pt>
                <c:pt idx="51">
                  <c:v>0.7701655656145502</c:v>
                </c:pt>
                <c:pt idx="52">
                  <c:v>0.6765334909425478</c:v>
                </c:pt>
                <c:pt idx="53">
                  <c:v>0.6193735703977503</c:v>
                </c:pt>
                <c:pt idx="54">
                  <c:v>0.6662722908093279</c:v>
                </c:pt>
                <c:pt idx="55">
                  <c:v>0.6823974973568729</c:v>
                </c:pt>
                <c:pt idx="56">
                  <c:v>0.6570270946496742</c:v>
                </c:pt>
                <c:pt idx="57">
                  <c:v>0.6767200480939861</c:v>
                </c:pt>
                <c:pt idx="58">
                  <c:v>0.6836319102275641</c:v>
                </c:pt>
                <c:pt idx="59">
                  <c:v>0.7524277647687558</c:v>
                </c:pt>
                <c:pt idx="60">
                  <c:v>0.6089388321930461</c:v>
                </c:pt>
                <c:pt idx="61">
                  <c:v>0.719521143385813</c:v>
                </c:pt>
                <c:pt idx="62">
                  <c:v>0.6642951407064445</c:v>
                </c:pt>
                <c:pt idx="63">
                  <c:v>0.6812994744596956</c:v>
                </c:pt>
                <c:pt idx="64">
                  <c:v>0.6648149475545361</c:v>
                </c:pt>
                <c:pt idx="65">
                  <c:v>0.6189671001789973</c:v>
                </c:pt>
                <c:pt idx="66">
                  <c:v>0.5613873622761576</c:v>
                </c:pt>
                <c:pt idx="67">
                  <c:v>0.6808152425216082</c:v>
                </c:pt>
                <c:pt idx="68">
                  <c:v>0.669305702941492</c:v>
                </c:pt>
                <c:pt idx="69">
                  <c:v>0.714186323273626</c:v>
                </c:pt>
                <c:pt idx="70">
                  <c:v>0.6533490767315302</c:v>
                </c:pt>
                <c:pt idx="71">
                  <c:v>0.7114074054970633</c:v>
                </c:pt>
                <c:pt idx="72">
                  <c:v>0.7001142303728628</c:v>
                </c:pt>
                <c:pt idx="73">
                  <c:v>0.6338143719056762</c:v>
                </c:pt>
                <c:pt idx="74">
                  <c:v>0.5239051484725487</c:v>
                </c:pt>
                <c:pt idx="75">
                  <c:v>0.5861597451295498</c:v>
                </c:pt>
                <c:pt idx="76">
                  <c:v>0.6932117566924985</c:v>
                </c:pt>
                <c:pt idx="77">
                  <c:v>0.6471319581802769</c:v>
                </c:pt>
                <c:pt idx="78">
                  <c:v>0.6320495224223411</c:v>
                </c:pt>
                <c:pt idx="79">
                  <c:v>0.5080732218418607</c:v>
                </c:pt>
                <c:pt idx="80">
                  <c:v>0.5480573910201032</c:v>
                </c:pt>
                <c:pt idx="81">
                  <c:v>0.5844089071697043</c:v>
                </c:pt>
                <c:pt idx="82">
                  <c:v>0.554922388477136</c:v>
                </c:pt>
                <c:pt idx="83">
                  <c:v>0.5501855800363263</c:v>
                </c:pt>
                <c:pt idx="84">
                  <c:v>0.5498930838398078</c:v>
                </c:pt>
                <c:pt idx="85">
                  <c:v>0.5720324542155203</c:v>
                </c:pt>
                <c:pt idx="86">
                  <c:v>0.7467255650959672</c:v>
                </c:pt>
                <c:pt idx="87">
                  <c:v>0.6344202898550725</c:v>
                </c:pt>
                <c:pt idx="88">
                  <c:v>0.6069342612153598</c:v>
                </c:pt>
                <c:pt idx="89">
                  <c:v>0.860102501387872</c:v>
                </c:pt>
                <c:pt idx="90">
                  <c:v>0.7208262267762053</c:v>
                </c:pt>
                <c:pt idx="91">
                  <c:v>0.6662366999088728</c:v>
                </c:pt>
                <c:pt idx="92">
                  <c:v>0.7073280031867067</c:v>
                </c:pt>
                <c:pt idx="93">
                  <c:v>0.6775579543443638</c:v>
                </c:pt>
                <c:pt idx="94">
                  <c:v>0.6376298759893779</c:v>
                </c:pt>
                <c:pt idx="95">
                  <c:v>0.5960615122914837</c:v>
                </c:pt>
                <c:pt idx="96">
                  <c:v>0.5467190269422609</c:v>
                </c:pt>
                <c:pt idx="97">
                  <c:v>0.6510101306997433</c:v>
                </c:pt>
                <c:pt idx="98">
                  <c:v>0.5992569173014637</c:v>
                </c:pt>
                <c:pt idx="99">
                  <c:v>0.6638267497904443</c:v>
                </c:pt>
                <c:pt idx="100">
                  <c:v>0.5424947914005598</c:v>
                </c:pt>
                <c:pt idx="101">
                  <c:v>0.5689773507206588</c:v>
                </c:pt>
                <c:pt idx="102">
                  <c:v>0.5503050471436495</c:v>
                </c:pt>
                <c:pt idx="103">
                  <c:v>0.6204671152288018</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5424649656086686</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5424649656086686</c:v>
                </c:pt>
                <c:pt idx="1">
                  <c:v>0.5424649656086686</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5424649656086686</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5424649656086686</c:v>
                </c:pt>
                <c:pt idx="1">
                  <c:v>0.5424649656086686</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632680261150021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6326802611500213</c:v>
                </c:pt>
                <c:pt idx="1">
                  <c:v>0.632680261150021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6402779165662491</c:v>
                </c:pt>
                <c:pt idx="1">
                  <c:v>0.5851761779742988</c:v>
                </c:pt>
                <c:pt idx="2">
                  <c:v>0.631361626371102</c:v>
                </c:pt>
                <c:pt idx="3">
                  <c:v>0.5623983251535848</c:v>
                </c:pt>
                <c:pt idx="4">
                  <c:v>0.6033517530073799</c:v>
                </c:pt>
                <c:pt idx="5">
                  <c:v>0.6533194574032872</c:v>
                </c:pt>
                <c:pt idx="6">
                  <c:v>0.6493622031791718</c:v>
                </c:pt>
                <c:pt idx="7">
                  <c:v>0.6148635474517746</c:v>
                </c:pt>
                <c:pt idx="8">
                  <c:v>0.6972433236218301</c:v>
                </c:pt>
                <c:pt idx="9">
                  <c:v>0.5575379060312055</c:v>
                </c:pt>
                <c:pt idx="10">
                  <c:v>0.6070993959686996</c:v>
                </c:pt>
                <c:pt idx="11">
                  <c:v>0.6833391577843789</c:v>
                </c:pt>
                <c:pt idx="12">
                  <c:v>0.6470067940007691</c:v>
                </c:pt>
                <c:pt idx="13">
                  <c:v>0.5940157958687728</c:v>
                </c:pt>
                <c:pt idx="14">
                  <c:v>0.6123591149706423</c:v>
                </c:pt>
                <c:pt idx="15">
                  <c:v>0.6227645305514157</c:v>
                </c:pt>
                <c:pt idx="16">
                  <c:v>0.6757299216526306</c:v>
                </c:pt>
                <c:pt idx="17">
                  <c:v>0.668715958918026</c:v>
                </c:pt>
                <c:pt idx="18">
                  <c:v>0.6852382088602561</c:v>
                </c:pt>
                <c:pt idx="19">
                  <c:v>0.7238717670313761</c:v>
                </c:pt>
                <c:pt idx="20">
                  <c:v>0.6080698248501235</c:v>
                </c:pt>
                <c:pt idx="21">
                  <c:v>0.6234660555714695</c:v>
                </c:pt>
                <c:pt idx="22">
                  <c:v>0.6510734202086162</c:v>
                </c:pt>
                <c:pt idx="23">
                  <c:v>0.610050465310276</c:v>
                </c:pt>
                <c:pt idx="24">
                  <c:v>0.6181571545718599</c:v>
                </c:pt>
                <c:pt idx="25">
                  <c:v>0.6239323091274815</c:v>
                </c:pt>
                <c:pt idx="26">
                  <c:v>0.6438387540082455</c:v>
                </c:pt>
                <c:pt idx="27">
                  <c:v>0.6801316938789224</c:v>
                </c:pt>
                <c:pt idx="28">
                  <c:v>0.6944531286376608</c:v>
                </c:pt>
                <c:pt idx="29">
                  <c:v>0.46357818103443116</c:v>
                </c:pt>
                <c:pt idx="30">
                  <c:v>0.4294609470653769</c:v>
                </c:pt>
                <c:pt idx="31">
                  <c:v>0.4505949940753304</c:v>
                </c:pt>
                <c:pt idx="32">
                  <c:v>0.46736996913884044</c:v>
                </c:pt>
                <c:pt idx="33">
                  <c:v>0.6204234448194377</c:v>
                </c:pt>
                <c:pt idx="34">
                  <c:v>0.6081901382144191</c:v>
                </c:pt>
                <c:pt idx="35">
                  <c:v>0.5845279607387317</c:v>
                </c:pt>
                <c:pt idx="36">
                  <c:v>0.555347478834696</c:v>
                </c:pt>
                <c:pt idx="37">
                  <c:v>0.557270240947516</c:v>
                </c:pt>
                <c:pt idx="38">
                  <c:v>0.6428840770153688</c:v>
                </c:pt>
                <c:pt idx="39">
                  <c:v>0.6289288390370018</c:v>
                </c:pt>
                <c:pt idx="40">
                  <c:v>0.5517999585338441</c:v>
                </c:pt>
                <c:pt idx="41">
                  <c:v>0.5723301524540928</c:v>
                </c:pt>
                <c:pt idx="42">
                  <c:v>0.5690377977944271</c:v>
                </c:pt>
                <c:pt idx="43">
                  <c:v>0.5313442021346311</c:v>
                </c:pt>
                <c:pt idx="44">
                  <c:v>0.5524242249956864</c:v>
                </c:pt>
                <c:pt idx="45">
                  <c:v>0.6686492696953731</c:v>
                </c:pt>
                <c:pt idx="46">
                  <c:v>0.6851601704482423</c:v>
                </c:pt>
                <c:pt idx="47">
                  <c:v>0.6311495802403421</c:v>
                </c:pt>
                <c:pt idx="48">
                  <c:v>0.6035289196486292</c:v>
                </c:pt>
                <c:pt idx="49">
                  <c:v>0.6291532262660572</c:v>
                </c:pt>
                <c:pt idx="50">
                  <c:v>0.5045702560276081</c:v>
                </c:pt>
                <c:pt idx="51">
                  <c:v>0.5680004986287709</c:v>
                </c:pt>
                <c:pt idx="52">
                  <c:v>0.5424649656086686</c:v>
                </c:pt>
                <c:pt idx="53">
                  <c:v>0.5424649656086686</c:v>
                </c:pt>
                <c:pt idx="54">
                  <c:v>0.6326802611500213</c:v>
                </c:pt>
              </c:numCache>
            </c:numRef>
          </c:xVal>
          <c:yVal>
            <c:numRef>
              <c:f>Sheet1!$B$186:$B$240</c:f>
              <c:numCache>
                <c:formatCode>General</c:formatCode>
                <c:ptCount val="55"/>
                <c:pt idx="0">
                  <c:v>0.36478291657298934</c:v>
                </c:pt>
                <c:pt idx="1">
                  <c:v>0.41235048695981524</c:v>
                </c:pt>
                <c:pt idx="2">
                  <c:v>0.3724800650166681</c:v>
                </c:pt>
                <c:pt idx="3">
                  <c:v>0.4320138795313948</c:v>
                </c:pt>
                <c:pt idx="4">
                  <c:v>0.39666009375626177</c:v>
                </c:pt>
                <c:pt idx="5">
                  <c:v>0.353524571054848</c:v>
                </c:pt>
                <c:pt idx="6">
                  <c:v>0.3569407421894495</c:v>
                </c:pt>
                <c:pt idx="7">
                  <c:v>0.3867223294224079</c:v>
                </c:pt>
                <c:pt idx="8">
                  <c:v>0.31560650074703944</c:v>
                </c:pt>
                <c:pt idx="9">
                  <c:v>0.4362097240659088</c:v>
                </c:pt>
                <c:pt idx="10">
                  <c:v>0.39342487332760345</c:v>
                </c:pt>
                <c:pt idx="11">
                  <c:v>0.3276095228665571</c:v>
                </c:pt>
                <c:pt idx="12">
                  <c:v>0.3589740916761718</c:v>
                </c:pt>
                <c:pt idx="13">
                  <c:v>0.4047195272635732</c:v>
                </c:pt>
                <c:pt idx="14">
                  <c:v>0.38888432596497646</c:v>
                </c:pt>
                <c:pt idx="15">
                  <c:v>0.37990166315449814</c:v>
                </c:pt>
                <c:pt idx="16">
                  <c:v>0.3341783332986076</c:v>
                </c:pt>
                <c:pt idx="17">
                  <c:v>0.34023326322631064</c:v>
                </c:pt>
                <c:pt idx="18">
                  <c:v>0.3259701327487803</c:v>
                </c:pt>
                <c:pt idx="19">
                  <c:v>0.29261901634921983</c:v>
                </c:pt>
                <c:pt idx="20">
                  <c:v>0.3925871330801607</c:v>
                </c:pt>
                <c:pt idx="21">
                  <c:v>0.3792960590189073</c:v>
                </c:pt>
                <c:pt idx="22">
                  <c:v>0.3554635032025272</c:v>
                </c:pt>
                <c:pt idx="23">
                  <c:v>0.39087730945377774</c:v>
                </c:pt>
                <c:pt idx="24">
                  <c:v>0.38387906362872026</c:v>
                </c:pt>
                <c:pt idx="25">
                  <c:v>0.3788935572211337</c:v>
                </c:pt>
                <c:pt idx="26">
                  <c:v>0.361708959380594</c:v>
                </c:pt>
                <c:pt idx="27">
                  <c:v>0.3303784239753925</c:v>
                </c:pt>
                <c:pt idx="28">
                  <c:v>0.3180151869281653</c:v>
                </c:pt>
                <c:pt idx="29">
                  <c:v>0.5173221525758105</c:v>
                </c:pt>
                <c:pt idx="30">
                  <c:v>0.5467744705914871</c:v>
                </c:pt>
                <c:pt idx="31">
                  <c:v>0.5285301230555763</c:v>
                </c:pt>
                <c:pt idx="32">
                  <c:v>0.5140488230555916</c:v>
                </c:pt>
                <c:pt idx="33">
                  <c:v>0.38192264766756623</c:v>
                </c:pt>
                <c:pt idx="34">
                  <c:v>0.3924832703968616</c:v>
                </c:pt>
                <c:pt idx="35">
                  <c:v>0.41291007218828013</c:v>
                </c:pt>
                <c:pt idx="36">
                  <c:v>0.4381006498789538</c:v>
                </c:pt>
                <c:pt idx="37">
                  <c:v>0.43644079078056874</c:v>
                </c:pt>
                <c:pt idx="38">
                  <c:v>0.362533101525938</c:v>
                </c:pt>
                <c:pt idx="39">
                  <c:v>0.3745802125929171</c:v>
                </c:pt>
                <c:pt idx="40">
                  <c:v>0.44116311080889115</c:v>
                </c:pt>
                <c:pt idx="41">
                  <c:v>0.4234400503517883</c:v>
                </c:pt>
                <c:pt idx="42">
                  <c:v>0.42628223493641265</c:v>
                </c:pt>
                <c:pt idx="43">
                  <c:v>0.45882191173241554</c:v>
                </c:pt>
                <c:pt idx="44">
                  <c:v>0.44062420151813864</c:v>
                </c:pt>
                <c:pt idx="45">
                  <c:v>0.340290833901459</c:v>
                </c:pt>
                <c:pt idx="46">
                  <c:v>0.3260375008164892</c:v>
                </c:pt>
                <c:pt idx="47">
                  <c:v>0.372663117666329</c:v>
                </c:pt>
                <c:pt idx="48">
                  <c:v>0.3965071514554709</c:v>
                </c:pt>
                <c:pt idx="49">
                  <c:v>0.37438650626740455</c:v>
                </c:pt>
                <c:pt idx="50">
                  <c:v>0.4819350039600527</c:v>
                </c:pt>
                <c:pt idx="51">
                  <c:v>0.42717770216368006</c:v>
                </c:pt>
                <c:pt idx="52">
                  <c:v>0.4492217119415544</c:v>
                </c:pt>
                <c:pt idx="53">
                  <c:v>0.4492217119415544</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Mini Baby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383168545743856</c:v>
                </c:pt>
                <c:pt idx="1">
                  <c:v>1.3804794427362521</c:v>
                </c:pt>
                <c:pt idx="2">
                  <c:v>1.3828473506691328</c:v>
                </c:pt>
                <c:pt idx="3">
                  <c:v>1.0833142039240045</c:v>
                </c:pt>
                <c:pt idx="4">
                  <c:v>1.3000253721244923</c:v>
                </c:pt>
                <c:pt idx="5">
                  <c:v>1.2021475126733887</c:v>
                </c:pt>
                <c:pt idx="6">
                  <c:v>1.1515616096382928</c:v>
                </c:pt>
                <c:pt idx="7">
                  <c:v>1.1425400935295515</c:v>
                </c:pt>
                <c:pt idx="8">
                  <c:v>1.0799405454310456</c:v>
                </c:pt>
                <c:pt idx="9">
                  <c:v>1.398741123732198</c:v>
                </c:pt>
                <c:pt idx="10">
                  <c:v>1.3568355159980163</c:v>
                </c:pt>
                <c:pt idx="11">
                  <c:v>1.356040717921243</c:v>
                </c:pt>
                <c:pt idx="12">
                  <c:v>1.3384407624785748</c:v>
                </c:pt>
                <c:pt idx="13">
                  <c:v>1.1732450475193408</c:v>
                </c:pt>
                <c:pt idx="14">
                  <c:v>1.0548097555869576</c:v>
                </c:pt>
                <c:pt idx="15">
                  <c:v>1.3027080844285144</c:v>
                </c:pt>
                <c:pt idx="16">
                  <c:v>1.301973499109045</c:v>
                </c:pt>
                <c:pt idx="17">
                  <c:v>1.35368780765632</c:v>
                </c:pt>
                <c:pt idx="18">
                  <c:v>1.2607437805872757</c:v>
                </c:pt>
                <c:pt idx="19">
                  <c:v>1.2269993649844981</c:v>
                </c:pt>
                <c:pt idx="20">
                  <c:v>1.347115946818517</c:v>
                </c:pt>
                <c:pt idx="21">
                  <c:v>1.4242211786493817</c:v>
                </c:pt>
                <c:pt idx="22">
                  <c:v>1.3217375513962932</c:v>
                </c:pt>
                <c:pt idx="23">
                  <c:v>1.1389930948535676</c:v>
                </c:pt>
                <c:pt idx="24">
                  <c:v>0.9187885872940489</c:v>
                </c:pt>
                <c:pt idx="25">
                  <c:v>1.0266236779756235</c:v>
                </c:pt>
                <c:pt idx="26">
                  <c:v>1.2914455820441917</c:v>
                </c:pt>
                <c:pt idx="27">
                  <c:v>1.2441832400077233</c:v>
                </c:pt>
                <c:pt idx="28">
                  <c:v>1.3993692555006074</c:v>
                </c:pt>
                <c:pt idx="29">
                  <c:v>1.3741263867846145</c:v>
                </c:pt>
                <c:pt idx="30">
                  <c:v>1.450239069354759</c:v>
                </c:pt>
                <c:pt idx="31">
                  <c:v>1.1700268817204302</c:v>
                </c:pt>
                <c:pt idx="32">
                  <c:v>0.9248818859285958</c:v>
                </c:pt>
                <c:pt idx="33">
                  <c:v>0.9430233834669008</c:v>
                </c:pt>
                <c:pt idx="34">
                  <c:v>1.1108963969579853</c:v>
                </c:pt>
                <c:pt idx="35">
                  <c:v>1.1849003185089064</c:v>
                </c:pt>
                <c:pt idx="36">
                  <c:v>1.3001423340348657</c:v>
                </c:pt>
                <c:pt idx="37">
                  <c:v>1.2795514922336835</c:v>
                </c:pt>
                <c:pt idx="38">
                  <c:v>1.2837707765987418</c:v>
                </c:pt>
                <c:pt idx="39">
                  <c:v>1.388766747239666</c:v>
                </c:pt>
                <c:pt idx="40">
                  <c:v>1.2945295460632884</c:v>
                </c:pt>
                <c:pt idx="41">
                  <c:v>1.2320859000267828</c:v>
                </c:pt>
                <c:pt idx="42">
                  <c:v>1.2108498354807216</c:v>
                </c:pt>
                <c:pt idx="43">
                  <c:v>1.0399293830495622</c:v>
                </c:pt>
                <c:pt idx="44">
                  <c:v>1.090217845419278</c:v>
                </c:pt>
                <c:pt idx="45">
                  <c:v>1.0473427764739518</c:v>
                </c:pt>
                <c:pt idx="46">
                  <c:v>1.2684035900128898</c:v>
                </c:pt>
                <c:pt idx="47">
                  <c:v>1.214097384888708</c:v>
                </c:pt>
                <c:pt idx="48">
                  <c:v>1.3057585916861147</c:v>
                </c:pt>
                <c:pt idx="49">
                  <c:v>1.2613416006320173</c:v>
                </c:pt>
                <c:pt idx="50">
                  <c:v>1.2244545129366877</c:v>
                </c:pt>
                <c:pt idx="51">
                  <c:v>1.3427179979382178</c:v>
                </c:pt>
                <c:pt idx="52">
                  <c:v>1.3176839182084663</c:v>
                </c:pt>
                <c:pt idx="53">
                  <c:v>1.2515329644997695</c:v>
                </c:pt>
                <c:pt idx="54">
                  <c:v>1.335154451431124</c:v>
                </c:pt>
                <c:pt idx="55">
                  <c:v>1.1069150623142614</c:v>
                </c:pt>
                <c:pt idx="56">
                  <c:v>0.9838532287499545</c:v>
                </c:pt>
                <c:pt idx="57">
                  <c:v>1.104961267813849</c:v>
                </c:pt>
                <c:pt idx="58">
                  <c:v>1.146672080830278</c:v>
                </c:pt>
                <c:pt idx="59">
                  <c:v>1.2791631799163181</c:v>
                </c:pt>
                <c:pt idx="60">
                  <c:v>1.132757415241684</c:v>
                </c:pt>
                <c:pt idx="61">
                  <c:v>1.0724560152163574</c:v>
                </c:pt>
                <c:pt idx="62">
                  <c:v>1.0335046225138218</c:v>
                </c:pt>
                <c:pt idx="63">
                  <c:v>1.3215806526267067</c:v>
                </c:pt>
                <c:pt idx="64">
                  <c:v>1.311950397246387</c:v>
                </c:pt>
                <c:pt idx="65">
                  <c:v>1.110846372688478</c:v>
                </c:pt>
                <c:pt idx="66">
                  <c:v>1.0044461172928087</c:v>
                </c:pt>
                <c:pt idx="67">
                  <c:v>1.3567884315486038</c:v>
                </c:pt>
                <c:pt idx="68">
                  <c:v>1.3328742728244094</c:v>
                </c:pt>
                <c:pt idx="69">
                  <c:v>1.4131164565521903</c:v>
                </c:pt>
                <c:pt idx="70">
                  <c:v>1.3244815736461666</c:v>
                </c:pt>
                <c:pt idx="71">
                  <c:v>1.3020083543766077</c:v>
                </c:pt>
                <c:pt idx="72">
                  <c:v>1.3374407020872865</c:v>
                </c:pt>
                <c:pt idx="73">
                  <c:v>1.363495973820642</c:v>
                </c:pt>
                <c:pt idx="74">
                  <c:v>0.9040217244387649</c:v>
                </c:pt>
                <c:pt idx="75">
                  <c:v>0.9933942543152363</c:v>
                </c:pt>
                <c:pt idx="76">
                  <c:v>1.2766443397789402</c:v>
                </c:pt>
                <c:pt idx="77">
                  <c:v>1.3501308746197562</c:v>
                </c:pt>
                <c:pt idx="78">
                  <c:v>1.3446475818177486</c:v>
                </c:pt>
                <c:pt idx="79">
                  <c:v>1.0396796333266394</c:v>
                </c:pt>
                <c:pt idx="80">
                  <c:v>1.0708249221610153</c:v>
                </c:pt>
                <c:pt idx="81">
                  <c:v>1.17632574405824</c:v>
                </c:pt>
                <c:pt idx="82">
                  <c:v>1.1370072347842695</c:v>
                </c:pt>
                <c:pt idx="83">
                  <c:v>0.9642128086544339</c:v>
                </c:pt>
                <c:pt idx="84">
                  <c:v>0.9555289870361253</c:v>
                </c:pt>
                <c:pt idx="85">
                  <c:v>1.146539636886572</c:v>
                </c:pt>
                <c:pt idx="86">
                  <c:v>1.3370758153121207</c:v>
                </c:pt>
                <c:pt idx="87">
                  <c:v>1.1977874227485021</c:v>
                </c:pt>
                <c:pt idx="88">
                  <c:v>1.1091641466359083</c:v>
                </c:pt>
                <c:pt idx="89">
                  <c:v>1.2044187068353633</c:v>
                </c:pt>
                <c:pt idx="90">
                  <c:v>1.331229411623266</c:v>
                </c:pt>
                <c:pt idx="91">
                  <c:v>1.2184521853434112</c:v>
                </c:pt>
                <c:pt idx="92">
                  <c:v>1.2065496990875557</c:v>
                </c:pt>
                <c:pt idx="93">
                  <c:v>1.188414073945323</c:v>
                </c:pt>
                <c:pt idx="94">
                  <c:v>1.1753796069671838</c:v>
                </c:pt>
                <c:pt idx="95">
                  <c:v>1.0584903592004775</c:v>
                </c:pt>
                <c:pt idx="96">
                  <c:v>1.0249647948217506</c:v>
                </c:pt>
                <c:pt idx="97">
                  <c:v>1.215194040405272</c:v>
                </c:pt>
                <c:pt idx="98">
                  <c:v>1.0914165757778325</c:v>
                </c:pt>
                <c:pt idx="99">
                  <c:v>1.2210484473246765</c:v>
                </c:pt>
                <c:pt idx="100">
                  <c:v>1.1363187747482073</c:v>
                </c:pt>
                <c:pt idx="101">
                  <c:v>1.1929344893333813</c:v>
                </c:pt>
                <c:pt idx="102">
                  <c:v>1.0077984809326577</c:v>
                </c:pt>
                <c:pt idx="103">
                  <c:v>1.0388816798395657</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063542642743700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0635426427437005</c:v>
                </c:pt>
                <c:pt idx="1">
                  <c:v>1.063542642743700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063542642743700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0635426427437005</c:v>
                </c:pt>
                <c:pt idx="1">
                  <c:v>1.063542642743700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2435633819939051</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2435633819939051</c:v>
                </c:pt>
                <c:pt idx="1">
                  <c:v>1.2435633819939051</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2808795860771403</c:v>
                </c:pt>
                <c:pt idx="1">
                  <c:v>1.3792910277622168</c:v>
                </c:pt>
                <c:pt idx="2">
                  <c:v>1.3059835354771265</c:v>
                </c:pt>
                <c:pt idx="3">
                  <c:v>0.9815979585235238</c:v>
                </c:pt>
                <c:pt idx="4">
                  <c:v>1.0002641468656572</c:v>
                </c:pt>
                <c:pt idx="5">
                  <c:v>1.066439383288814</c:v>
                </c:pt>
                <c:pt idx="6">
                  <c:v>1.2291271993363297</c:v>
                </c:pt>
                <c:pt idx="7">
                  <c:v>1.1942801993745111</c:v>
                </c:pt>
                <c:pt idx="8">
                  <c:v>1.3065488198507162</c:v>
                </c:pt>
                <c:pt idx="9">
                  <c:v>0.9585751779134911</c:v>
                </c:pt>
                <c:pt idx="10">
                  <c:v>1.0282816169489832</c:v>
                </c:pt>
                <c:pt idx="11">
                  <c:v>1.3771978367500946</c:v>
                </c:pt>
                <c:pt idx="12">
                  <c:v>1.251655300681959</c:v>
                </c:pt>
                <c:pt idx="13">
                  <c:v>1.0859227099477498</c:v>
                </c:pt>
                <c:pt idx="14">
                  <c:v>1.0518821663377365</c:v>
                </c:pt>
                <c:pt idx="15">
                  <c:v>1.3263241420353105</c:v>
                </c:pt>
                <c:pt idx="16">
                  <c:v>1.4039530800370676</c:v>
                </c:pt>
                <c:pt idx="17">
                  <c:v>1.2015450926820075</c:v>
                </c:pt>
                <c:pt idx="18">
                  <c:v>1.2516464891041161</c:v>
                </c:pt>
                <c:pt idx="19">
                  <c:v>1.2909524223278674</c:v>
                </c:pt>
                <c:pt idx="20">
                  <c:v>1.2140987877436542</c:v>
                </c:pt>
                <c:pt idx="21">
                  <c:v>1.3397761827963608</c:v>
                </c:pt>
                <c:pt idx="22">
                  <c:v>1.4295230482280843</c:v>
                </c:pt>
                <c:pt idx="23">
                  <c:v>1.2738896781765396</c:v>
                </c:pt>
                <c:pt idx="24">
                  <c:v>0.9516724677010204</c:v>
                </c:pt>
                <c:pt idx="25">
                  <c:v>1.060789294343597</c:v>
                </c:pt>
                <c:pt idx="26">
                  <c:v>1.3963724920034892</c:v>
                </c:pt>
                <c:pt idx="27">
                  <c:v>1.2515795590835468</c:v>
                </c:pt>
                <c:pt idx="28">
                  <c:v>1.3134970560112726</c:v>
                </c:pt>
                <c:pt idx="29">
                  <c:v>0.9752260762235825</c:v>
                </c:pt>
                <c:pt idx="30">
                  <c:v>0.9737276478679505</c:v>
                </c:pt>
                <c:pt idx="31">
                  <c:v>1.0269152993575141</c:v>
                </c:pt>
                <c:pt idx="32">
                  <c:v>1.0694657904499443</c:v>
                </c:pt>
                <c:pt idx="33">
                  <c:v>1.3645384685875868</c:v>
                </c:pt>
                <c:pt idx="34">
                  <c:v>1.2623264603978388</c:v>
                </c:pt>
                <c:pt idx="35">
                  <c:v>1.267679043316244</c:v>
                </c:pt>
                <c:pt idx="36">
                  <c:v>1.2435849433378265</c:v>
                </c:pt>
                <c:pt idx="37">
                  <c:v>1.1555740432612314</c:v>
                </c:pt>
                <c:pt idx="38">
                  <c:v>1.3701218843985534</c:v>
                </c:pt>
                <c:pt idx="39">
                  <c:v>1.348892841808256</c:v>
                </c:pt>
                <c:pt idx="40">
                  <c:v>1.1691366873208175</c:v>
                </c:pt>
                <c:pt idx="41">
                  <c:v>1.1900798446023018</c:v>
                </c:pt>
                <c:pt idx="42">
                  <c:v>1.17432999003961</c:v>
                </c:pt>
                <c:pt idx="43">
                  <c:v>1.0785264010178706</c:v>
                </c:pt>
                <c:pt idx="44">
                  <c:v>1.1460993246306947</c:v>
                </c:pt>
                <c:pt idx="45">
                  <c:v>1.15873365087397</c:v>
                </c:pt>
                <c:pt idx="46">
                  <c:v>1.2207417742123006</c:v>
                </c:pt>
                <c:pt idx="47">
                  <c:v>1.2250797358609227</c:v>
                </c:pt>
                <c:pt idx="48">
                  <c:v>1.0301050376989063</c:v>
                </c:pt>
                <c:pt idx="49">
                  <c:v>1.237445635116352</c:v>
                </c:pt>
                <c:pt idx="50">
                  <c:v>0.9903432494279175</c:v>
                </c:pt>
                <c:pt idx="51">
                  <c:v>1.0783466849684646</c:v>
                </c:pt>
                <c:pt idx="52">
                  <c:v>1.0635426427437005</c:v>
                </c:pt>
                <c:pt idx="53">
                  <c:v>1.0635426427437005</c:v>
                </c:pt>
                <c:pt idx="54">
                  <c:v>1.2435633819939051</c:v>
                </c:pt>
              </c:numCache>
            </c:numRef>
          </c:xVal>
          <c:yVal>
            <c:numRef>
              <c:f>Sheet1!$B$186:$B$240</c:f>
              <c:numCache>
                <c:formatCode>General</c:formatCode>
                <c:ptCount val="55"/>
                <c:pt idx="0">
                  <c:v>0.3551981158363475</c:v>
                </c:pt>
                <c:pt idx="1">
                  <c:v>0.3126236804770872</c:v>
                </c:pt>
                <c:pt idx="2">
                  <c:v>0.3443377275248741</c:v>
                </c:pt>
                <c:pt idx="3">
                  <c:v>0.4846723526559863</c:v>
                </c:pt>
                <c:pt idx="4">
                  <c:v>0.47659704743366227</c:v>
                </c:pt>
                <c:pt idx="5">
                  <c:v>0.4479685335409663</c:v>
                </c:pt>
                <c:pt idx="6">
                  <c:v>0.37758706377021567</c:v>
                </c:pt>
                <c:pt idx="7">
                  <c:v>0.3926624586829962</c:v>
                </c:pt>
                <c:pt idx="8">
                  <c:v>0.3440931760518857</c:v>
                </c:pt>
                <c:pt idx="9">
                  <c:v>0.49463239254656044</c:v>
                </c:pt>
                <c:pt idx="10">
                  <c:v>0.4644762213531979</c:v>
                </c:pt>
                <c:pt idx="11">
                  <c:v>0.31352922991233856</c:v>
                </c:pt>
                <c:pt idx="12">
                  <c:v>0.36784103040170135</c:v>
                </c:pt>
                <c:pt idx="13">
                  <c:v>0.43953972061819</c:v>
                </c:pt>
                <c:pt idx="14">
                  <c:v>0.45426622902720526</c:v>
                </c:pt>
                <c:pt idx="15">
                  <c:v>0.3355380409818116</c:v>
                </c:pt>
                <c:pt idx="16">
                  <c:v>0.30195446425157635</c:v>
                </c:pt>
                <c:pt idx="17">
                  <c:v>0.38951954435092384</c:v>
                </c:pt>
                <c:pt idx="18">
                  <c:v>0.36784484243762794</c:v>
                </c:pt>
                <c:pt idx="19">
                  <c:v>0.3508404384311803</c:v>
                </c:pt>
                <c:pt idx="20">
                  <c:v>0.384088605937967</c:v>
                </c:pt>
                <c:pt idx="21">
                  <c:v>0.32971846319669806</c:v>
                </c:pt>
                <c:pt idx="22">
                  <c:v>0.29089246841809935</c:v>
                </c:pt>
                <c:pt idx="23">
                  <c:v>0.35822206688295066</c:v>
                </c:pt>
                <c:pt idx="24">
                  <c:v>0.4976186204151143</c:v>
                </c:pt>
                <c:pt idx="25">
                  <c:v>0.45041285650233476</c:v>
                </c:pt>
                <c:pt idx="26">
                  <c:v>0.30523395340135995</c:v>
                </c:pt>
                <c:pt idx="27">
                  <c:v>0.36787379748376414</c:v>
                </c:pt>
                <c:pt idx="28">
                  <c:v>0.3410872528968819</c:v>
                </c:pt>
                <c:pt idx="29">
                  <c:v>0.487428935492805</c:v>
                </c:pt>
                <c:pt idx="30">
                  <c:v>0.48807718065693423</c:v>
                </c:pt>
                <c:pt idx="31">
                  <c:v>0.4650673131915267</c:v>
                </c:pt>
                <c:pt idx="32">
                  <c:v>0.44665925919393795</c:v>
                </c:pt>
                <c:pt idx="33">
                  <c:v>0.3190058842758473</c:v>
                </c:pt>
                <c:pt idx="34">
                  <c:v>0.36322450826003905</c:v>
                </c:pt>
                <c:pt idx="35">
                  <c:v>0.36090889138091675</c:v>
                </c:pt>
                <c:pt idx="36">
                  <c:v>0.37133240194540273</c:v>
                </c:pt>
                <c:pt idx="37">
                  <c:v>0.40940738908167523</c:v>
                </c:pt>
                <c:pt idx="38">
                  <c:v>0.31659040522729764</c:v>
                </c:pt>
                <c:pt idx="39">
                  <c:v>0.32577444405473266</c:v>
                </c:pt>
                <c:pt idx="40">
                  <c:v>0.4035399624600503</c:v>
                </c:pt>
                <c:pt idx="41">
                  <c:v>0.3944796023979277</c:v>
                </c:pt>
                <c:pt idx="42">
                  <c:v>0.4012932528588451</c:v>
                </c:pt>
                <c:pt idx="43">
                  <c:v>0.44273948754610415</c:v>
                </c:pt>
                <c:pt idx="44">
                  <c:v>0.4135063108023203</c:v>
                </c:pt>
                <c:pt idx="45">
                  <c:v>0.4080404899918353</c:v>
                </c:pt>
                <c:pt idx="46">
                  <c:v>0.3812147389042244</c:v>
                </c:pt>
                <c:pt idx="47">
                  <c:v>0.3793380641534244</c:v>
                </c:pt>
                <c:pt idx="48">
                  <c:v>0.4636873790446099</c:v>
                </c:pt>
                <c:pt idx="49">
                  <c:v>0.37398836934665436</c:v>
                </c:pt>
                <c:pt idx="50">
                  <c:v>0.4808889935675329</c:v>
                </c:pt>
                <c:pt idx="51">
                  <c:v>0.4428172357143806</c:v>
                </c:pt>
                <c:pt idx="52">
                  <c:v>0.44922171194155447</c:v>
                </c:pt>
                <c:pt idx="53">
                  <c:v>0.44922171194155447</c:v>
                </c:pt>
                <c:pt idx="54">
                  <c:v>0.3713417297433429</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4654493032196059</c:v>
                </c:pt>
                <c:pt idx="1">
                  <c:v>0.4597594903442714</c:v>
                </c:pt>
                <c:pt idx="2">
                  <c:v>0.44339881821947974</c:v>
                </c:pt>
                <c:pt idx="3">
                  <c:v>0.3616549386250017</c:v>
                </c:pt>
                <c:pt idx="4">
                  <c:v>0.41719742341722904</c:v>
                </c:pt>
                <c:pt idx="5">
                  <c:v>0.35013872663551404</c:v>
                </c:pt>
                <c:pt idx="6">
                  <c:v>0.3735471065359851</c:v>
                </c:pt>
                <c:pt idx="7">
                  <c:v>0.3775993573371404</c:v>
                </c:pt>
                <c:pt idx="8">
                  <c:v>0.3585697549168966</c:v>
                </c:pt>
                <c:pt idx="9">
                  <c:v>0.44074300928761606</c:v>
                </c:pt>
                <c:pt idx="10">
                  <c:v>0.43937841826547447</c:v>
                </c:pt>
                <c:pt idx="11">
                  <c:v>0.4344665402143966</c:v>
                </c:pt>
                <c:pt idx="12">
                  <c:v>0.4358116821343256</c:v>
                </c:pt>
                <c:pt idx="13">
                  <c:v>0.37836806819228186</c:v>
                </c:pt>
                <c:pt idx="14">
                  <c:v>0.3418016696416079</c:v>
                </c:pt>
                <c:pt idx="15">
                  <c:v>0.41603639200257764</c:v>
                </c:pt>
                <c:pt idx="16">
                  <c:v>0.42609034985026467</c:v>
                </c:pt>
                <c:pt idx="17">
                  <c:v>0.4280733803324242</c:v>
                </c:pt>
                <c:pt idx="18">
                  <c:v>0.40686282574361676</c:v>
                </c:pt>
                <c:pt idx="19">
                  <c:v>0.41769737455599737</c:v>
                </c:pt>
                <c:pt idx="20">
                  <c:v>0.4361278800373649</c:v>
                </c:pt>
                <c:pt idx="21">
                  <c:v>0.4245107819209129</c:v>
                </c:pt>
                <c:pt idx="22">
                  <c:v>0.36995004501757145</c:v>
                </c:pt>
                <c:pt idx="23">
                  <c:v>0.37970621277317335</c:v>
                </c:pt>
                <c:pt idx="24">
                  <c:v>0.3129627555655106</c:v>
                </c:pt>
                <c:pt idx="25">
                  <c:v>0.3262668446873253</c:v>
                </c:pt>
                <c:pt idx="26">
                  <c:v>0.4375226810475057</c:v>
                </c:pt>
                <c:pt idx="27">
                  <c:v>0.4100987279135076</c:v>
                </c:pt>
                <c:pt idx="28">
                  <c:v>0.47618371548235966</c:v>
                </c:pt>
                <c:pt idx="29">
                  <c:v>0.4888655124298525</c:v>
                </c:pt>
                <c:pt idx="30">
                  <c:v>0.48237276047366673</c:v>
                </c:pt>
                <c:pt idx="31">
                  <c:v>0.36960910329600766</c:v>
                </c:pt>
                <c:pt idx="32">
                  <c:v>0.2814972667469656</c:v>
                </c:pt>
                <c:pt idx="33">
                  <c:v>0.29742050897339717</c:v>
                </c:pt>
                <c:pt idx="34">
                  <c:v>0.3184186452064781</c:v>
                </c:pt>
                <c:pt idx="35">
                  <c:v>0.3860854858548586</c:v>
                </c:pt>
                <c:pt idx="36">
                  <c:v>0.41501498935988446</c:v>
                </c:pt>
                <c:pt idx="37">
                  <c:v>0.44226195646329414</c:v>
                </c:pt>
                <c:pt idx="38">
                  <c:v>0.42180226391808245</c:v>
                </c:pt>
                <c:pt idx="39">
                  <c:v>0.4367805992443546</c:v>
                </c:pt>
                <c:pt idx="40">
                  <c:v>0.3978511061981592</c:v>
                </c:pt>
                <c:pt idx="41">
                  <c:v>0.4049503445074863</c:v>
                </c:pt>
                <c:pt idx="42">
                  <c:v>0.37970172043660994</c:v>
                </c:pt>
                <c:pt idx="43">
                  <c:v>0.34126928580316035</c:v>
                </c:pt>
                <c:pt idx="44">
                  <c:v>0.3513983525256528</c:v>
                </c:pt>
                <c:pt idx="45">
                  <c:v>0.35615755763785073</c:v>
                </c:pt>
                <c:pt idx="46">
                  <c:v>0.41180026271025544</c:v>
                </c:pt>
                <c:pt idx="47">
                  <c:v>0.41271166229430006</c:v>
                </c:pt>
                <c:pt idx="48">
                  <c:v>0.4393735250972638</c:v>
                </c:pt>
                <c:pt idx="49">
                  <c:v>0.4070859023689212</c:v>
                </c:pt>
                <c:pt idx="50">
                  <c:v>0.3846110632560579</c:v>
                </c:pt>
                <c:pt idx="51">
                  <c:v>0.4452372626293186</c:v>
                </c:pt>
                <c:pt idx="52">
                  <c:v>0.44462420060787833</c:v>
                </c:pt>
                <c:pt idx="53">
                  <c:v>0.3831507260184548</c:v>
                </c:pt>
                <c:pt idx="54">
                  <c:v>0.4669732525207206</c:v>
                </c:pt>
                <c:pt idx="55">
                  <c:v>0.36664176607449944</c:v>
                </c:pt>
                <c:pt idx="56">
                  <c:v>0.310367308968073</c:v>
                </c:pt>
                <c:pt idx="57">
                  <c:v>0.3585380642091287</c:v>
                </c:pt>
                <c:pt idx="58">
                  <c:v>0.36869551860527633</c:v>
                </c:pt>
                <c:pt idx="59">
                  <c:v>0.4028795939652024</c:v>
                </c:pt>
                <c:pt idx="60">
                  <c:v>0.36612036508623497</c:v>
                </c:pt>
                <c:pt idx="61">
                  <c:v>0.3420992757195404</c:v>
                </c:pt>
                <c:pt idx="62">
                  <c:v>0.35791376194164737</c:v>
                </c:pt>
                <c:pt idx="63">
                  <c:v>0.42929526429938014</c:v>
                </c:pt>
                <c:pt idx="64">
                  <c:v>0.4238406056497864</c:v>
                </c:pt>
                <c:pt idx="65">
                  <c:v>0.38023420001947605</c:v>
                </c:pt>
                <c:pt idx="66">
                  <c:v>0.32544951485171153</c:v>
                </c:pt>
                <c:pt idx="67">
                  <c:v>0.459557984962045</c:v>
                </c:pt>
                <c:pt idx="68">
                  <c:v>0.4391541428381434</c:v>
                </c:pt>
                <c:pt idx="69">
                  <c:v>0.44984969516179873</c:v>
                </c:pt>
                <c:pt idx="70">
                  <c:v>0.4333647385419454</c:v>
                </c:pt>
                <c:pt idx="71">
                  <c:v>0.42652709378648135</c:v>
                </c:pt>
                <c:pt idx="72">
                  <c:v>0.4379244865387528</c:v>
                </c:pt>
                <c:pt idx="73">
                  <c:v>0.43736485795834285</c:v>
                </c:pt>
                <c:pt idx="74">
                  <c:v>0.2893619029639419</c:v>
                </c:pt>
                <c:pt idx="75">
                  <c:v>0.34007524331397726</c:v>
                </c:pt>
                <c:pt idx="76">
                  <c:v>0.4276720833151634</c:v>
                </c:pt>
                <c:pt idx="77">
                  <c:v>0.41957042671532524</c:v>
                </c:pt>
                <c:pt idx="78">
                  <c:v>0.4298925116309198</c:v>
                </c:pt>
                <c:pt idx="79">
                  <c:v>0.32760475408798706</c:v>
                </c:pt>
                <c:pt idx="80">
                  <c:v>0.40317157689979</c:v>
                </c:pt>
                <c:pt idx="81">
                  <c:v>0.4299615209026283</c:v>
                </c:pt>
                <c:pt idx="82">
                  <c:v>0.3842101016620945</c:v>
                </c:pt>
                <c:pt idx="83">
                  <c:v>0.3227642119486536</c:v>
                </c:pt>
                <c:pt idx="84">
                  <c:v>0.33541113785512966</c:v>
                </c:pt>
                <c:pt idx="85">
                  <c:v>0.3772996336360732</c:v>
                </c:pt>
                <c:pt idx="86">
                  <c:v>0.4430573867461193</c:v>
                </c:pt>
                <c:pt idx="87">
                  <c:v>0.3827235864272901</c:v>
                </c:pt>
                <c:pt idx="88">
                  <c:v>0.41934871614110253</c:v>
                </c:pt>
                <c:pt idx="89">
                  <c:v>0.42221774607613133</c:v>
                </c:pt>
                <c:pt idx="90">
                  <c:v>0.4385046432885175</c:v>
                </c:pt>
                <c:pt idx="91">
                  <c:v>0.4146327825770919</c:v>
                </c:pt>
                <c:pt idx="92">
                  <c:v>0.4252728547967702</c:v>
                </c:pt>
                <c:pt idx="93">
                  <c:v>0.38724685054978847</c:v>
                </c:pt>
                <c:pt idx="94">
                  <c:v>0.37208926200497233</c:v>
                </c:pt>
                <c:pt idx="95">
                  <c:v>0.3569665178296356</c:v>
                </c:pt>
                <c:pt idx="96">
                  <c:v>0.3587689221150395</c:v>
                </c:pt>
                <c:pt idx="97">
                  <c:v>0.42740808082540716</c:v>
                </c:pt>
                <c:pt idx="98">
                  <c:v>0.3683718868253139</c:v>
                </c:pt>
                <c:pt idx="99">
                  <c:v>0.40723525630724733</c:v>
                </c:pt>
                <c:pt idx="100">
                  <c:v>0.40617760945980985</c:v>
                </c:pt>
                <c:pt idx="101">
                  <c:v>0.38592843176810154</c:v>
                </c:pt>
                <c:pt idx="102">
                  <c:v>0.36234159880217653</c:v>
                </c:pt>
                <c:pt idx="103">
                  <c:v>0.3427559499484305</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36234373172596684</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36234373172596684</c:v>
                </c:pt>
                <c:pt idx="1">
                  <c:v>0.36234373172596684</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36234373172596684</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36234373172596684</c:v>
                </c:pt>
                <c:pt idx="1">
                  <c:v>0.36234373172596684</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4352478078041794</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4352478078041794</c:v>
                </c:pt>
                <c:pt idx="1">
                  <c:v>0.4352478078041794</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41166911064415185</c:v>
                </c:pt>
                <c:pt idx="1">
                  <c:v>0.4192408973013642</c:v>
                </c:pt>
                <c:pt idx="2">
                  <c:v>0.4365014452244068</c:v>
                </c:pt>
                <c:pt idx="3">
                  <c:v>0.31890471742176557</c:v>
                </c:pt>
                <c:pt idx="4">
                  <c:v>0.3575892588872578</c:v>
                </c:pt>
                <c:pt idx="5">
                  <c:v>0.3717420956768192</c:v>
                </c:pt>
                <c:pt idx="6">
                  <c:v>0.37733582690933415</c:v>
                </c:pt>
                <c:pt idx="7">
                  <c:v>0.3822085122021785</c:v>
                </c:pt>
                <c:pt idx="8">
                  <c:v>0.46809923477915205</c:v>
                </c:pt>
                <c:pt idx="9">
                  <c:v>0.2887973146096034</c:v>
                </c:pt>
                <c:pt idx="10">
                  <c:v>0.35020931894761925</c:v>
                </c:pt>
                <c:pt idx="11">
                  <c:v>0.4623533783156135</c:v>
                </c:pt>
                <c:pt idx="12">
                  <c:v>0.44534934507449253</c:v>
                </c:pt>
                <c:pt idx="13">
                  <c:v>0.37101941726640425</c:v>
                </c:pt>
                <c:pt idx="14">
                  <c:v>0.38414361831487254</c:v>
                </c:pt>
                <c:pt idx="15">
                  <c:v>0.42982100166743675</c:v>
                </c:pt>
                <c:pt idx="16">
                  <c:v>0.47350196776727294</c:v>
                </c:pt>
                <c:pt idx="17">
                  <c:v>0.42195900676603415</c:v>
                </c:pt>
                <c:pt idx="18">
                  <c:v>0.4334588326052139</c:v>
                </c:pt>
                <c:pt idx="19">
                  <c:v>0.4444287759331667</c:v>
                </c:pt>
                <c:pt idx="20">
                  <c:v>0.43672091010785374</c:v>
                </c:pt>
                <c:pt idx="21">
                  <c:v>0.4597672984140128</c:v>
                </c:pt>
                <c:pt idx="22">
                  <c:v>0.4563737999756957</c:v>
                </c:pt>
                <c:pt idx="23">
                  <c:v>0.39008031232149143</c:v>
                </c:pt>
                <c:pt idx="24">
                  <c:v>0.3049812456517136</c:v>
                </c:pt>
                <c:pt idx="25">
                  <c:v>0.3509452989210638</c:v>
                </c:pt>
                <c:pt idx="26">
                  <c:v>0.5096782752902156</c:v>
                </c:pt>
                <c:pt idx="27">
                  <c:v>0.41705052036553314</c:v>
                </c:pt>
                <c:pt idx="28">
                  <c:v>0.4598032220842252</c:v>
                </c:pt>
                <c:pt idx="29">
                  <c:v>0.32216069132802716</c:v>
                </c:pt>
                <c:pt idx="30">
                  <c:v>0.3379862928673429</c:v>
                </c:pt>
                <c:pt idx="31">
                  <c:v>0.3546872720682171</c:v>
                </c:pt>
                <c:pt idx="32">
                  <c:v>0.32324061541418714</c:v>
                </c:pt>
                <c:pt idx="33">
                  <c:v>0.41772233064958897</c:v>
                </c:pt>
                <c:pt idx="34">
                  <c:v>0.4445430421761277</c:v>
                </c:pt>
                <c:pt idx="35">
                  <c:v>0.4633600256388571</c:v>
                </c:pt>
                <c:pt idx="36">
                  <c:v>0.4103526097735753</c:v>
                </c:pt>
                <c:pt idx="37">
                  <c:v>0.41651110341507097</c:v>
                </c:pt>
                <c:pt idx="38">
                  <c:v>0.4782556953417205</c:v>
                </c:pt>
                <c:pt idx="39">
                  <c:v>0.49346342163959733</c:v>
                </c:pt>
                <c:pt idx="40">
                  <c:v>0.455591794077104</c:v>
                </c:pt>
                <c:pt idx="41">
                  <c:v>0.4479328725547706</c:v>
                </c:pt>
                <c:pt idx="42">
                  <c:v>0.408293602216352</c:v>
                </c:pt>
                <c:pt idx="43">
                  <c:v>0.4130354856856831</c:v>
                </c:pt>
                <c:pt idx="44">
                  <c:v>0.42688319711292744</c:v>
                </c:pt>
                <c:pt idx="45">
                  <c:v>0.4924383733269755</c:v>
                </c:pt>
                <c:pt idx="46">
                  <c:v>0.4758874505964683</c:v>
                </c:pt>
                <c:pt idx="47">
                  <c:v>0.4490743599560336</c:v>
                </c:pt>
                <c:pt idx="48">
                  <c:v>0.42927466979218326</c:v>
                </c:pt>
                <c:pt idx="49">
                  <c:v>0.5038290919712293</c:v>
                </c:pt>
                <c:pt idx="50">
                  <c:v>0.36872822077003686</c:v>
                </c:pt>
                <c:pt idx="51">
                  <c:v>0.37054958281150885</c:v>
                </c:pt>
                <c:pt idx="52">
                  <c:v>0.36234373172596684</c:v>
                </c:pt>
                <c:pt idx="53">
                  <c:v>0.36234373172596684</c:v>
                </c:pt>
                <c:pt idx="54">
                  <c:v>0.4352478078041794</c:v>
                </c:pt>
              </c:numCache>
            </c:numRef>
          </c:xVal>
          <c:yVal>
            <c:numRef>
              <c:f>Sheet1!$B$186:$B$240</c:f>
              <c:numCache>
                <c:formatCode>General</c:formatCode>
                <c:ptCount val="55"/>
                <c:pt idx="0">
                  <c:v>0.39652973861557583</c:v>
                </c:pt>
                <c:pt idx="1">
                  <c:v>0.3884411564430273</c:v>
                </c:pt>
                <c:pt idx="2">
                  <c:v>0.37000252807969947</c:v>
                </c:pt>
                <c:pt idx="3">
                  <c:v>0.49562555988401646</c:v>
                </c:pt>
                <c:pt idx="4">
                  <c:v>0.45430069078552615</c:v>
                </c:pt>
                <c:pt idx="5">
                  <c:v>0.439181883490818</c:v>
                </c:pt>
                <c:pt idx="6">
                  <c:v>0.43320636453159705</c:v>
                </c:pt>
                <c:pt idx="7">
                  <c:v>0.42800110490445237</c:v>
                </c:pt>
                <c:pt idx="8">
                  <c:v>0.33624810143575745</c:v>
                </c:pt>
                <c:pt idx="9">
                  <c:v>0.5277878767417197</c:v>
                </c:pt>
                <c:pt idx="10">
                  <c:v>0.46218433216802335</c:v>
                </c:pt>
                <c:pt idx="11">
                  <c:v>0.3423861285964582</c:v>
                </c:pt>
                <c:pt idx="12">
                  <c:v>0.3605507344368175</c:v>
                </c:pt>
                <c:pt idx="13">
                  <c:v>0.43995388671431085</c:v>
                </c:pt>
                <c:pt idx="14">
                  <c:v>0.42593392241322126</c:v>
                </c:pt>
                <c:pt idx="15">
                  <c:v>0.3771389305043709</c:v>
                </c:pt>
                <c:pt idx="16">
                  <c:v>0.3304766168827519</c:v>
                </c:pt>
                <c:pt idx="17">
                  <c:v>0.385537528441567</c:v>
                </c:pt>
                <c:pt idx="18">
                  <c:v>0.37325280747922973</c:v>
                </c:pt>
                <c:pt idx="19">
                  <c:v>0.3615341349844325</c:v>
                </c:pt>
                <c:pt idx="20">
                  <c:v>0.36976808410707934</c:v>
                </c:pt>
                <c:pt idx="21">
                  <c:v>0.34514871564966687</c:v>
                </c:pt>
                <c:pt idx="22">
                  <c:v>0.3487738298021632</c:v>
                </c:pt>
                <c:pt idx="23">
                  <c:v>0.4195920325159308</c:v>
                </c:pt>
                <c:pt idx="24">
                  <c:v>0.5104993473581987</c:v>
                </c:pt>
                <c:pt idx="25">
                  <c:v>0.46139811951279935</c:v>
                </c:pt>
                <c:pt idx="26">
                  <c:v>0.2918311756750306</c:v>
                </c:pt>
                <c:pt idx="27">
                  <c:v>0.39078103270161796</c:v>
                </c:pt>
                <c:pt idx="28">
                  <c:v>0.3451103400889694</c:v>
                </c:pt>
                <c:pt idx="29">
                  <c:v>0.49214735669568643</c:v>
                </c:pt>
                <c:pt idx="30">
                  <c:v>0.4752416138009317</c:v>
                </c:pt>
                <c:pt idx="31">
                  <c:v>0.45740074628261346</c:v>
                </c:pt>
                <c:pt idx="32">
                  <c:v>0.4909937247846897</c:v>
                </c:pt>
                <c:pt idx="33">
                  <c:v>0.3900633694956991</c:v>
                </c:pt>
                <c:pt idx="34">
                  <c:v>0.3614120697523306</c:v>
                </c:pt>
                <c:pt idx="35">
                  <c:v>0.3413107747914119</c:v>
                </c:pt>
                <c:pt idx="36">
                  <c:v>0.39793609433503435</c:v>
                </c:pt>
                <c:pt idx="37">
                  <c:v>0.39135726636041007</c:v>
                </c:pt>
                <c:pt idx="38">
                  <c:v>0.32539843416940195</c:v>
                </c:pt>
                <c:pt idx="39">
                  <c:v>0.30915273822116307</c:v>
                </c:pt>
                <c:pt idx="40">
                  <c:v>0.3496092097800383</c:v>
                </c:pt>
                <c:pt idx="41">
                  <c:v>0.35779087401479126</c:v>
                </c:pt>
                <c:pt idx="42">
                  <c:v>0.40013563488926207</c:v>
                </c:pt>
                <c:pt idx="43">
                  <c:v>0.3950701046741708</c:v>
                </c:pt>
                <c:pt idx="44">
                  <c:v>0.38027724839707083</c:v>
                </c:pt>
                <c:pt idx="45">
                  <c:v>0.3102477489343316</c:v>
                </c:pt>
                <c:pt idx="46">
                  <c:v>0.3279283182104997</c:v>
                </c:pt>
                <c:pt idx="47">
                  <c:v>0.35657147692107494</c:v>
                </c:pt>
                <c:pt idx="48">
                  <c:v>0.377722551050819</c:v>
                </c:pt>
                <c:pt idx="49">
                  <c:v>0.2980795820366725</c:v>
                </c:pt>
                <c:pt idx="50">
                  <c:v>0.4424014637490745</c:v>
                </c:pt>
                <c:pt idx="51">
                  <c:v>0.4404557886785317</c:v>
                </c:pt>
                <c:pt idx="52">
                  <c:v>0.44922171194155447</c:v>
                </c:pt>
                <c:pt idx="53">
                  <c:v>0.44922171194155447</c:v>
                </c:pt>
                <c:pt idx="54">
                  <c:v>0.37134172974334284</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Ficello</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25790169799243007</c:v>
                </c:pt>
                <c:pt idx="1">
                  <c:v>0.3112618508560917</c:v>
                </c:pt>
                <c:pt idx="2">
                  <c:v>0.3235735051465389</c:v>
                </c:pt>
                <c:pt idx="3">
                  <c:v>0.3747095442538925</c:v>
                </c:pt>
                <c:pt idx="4">
                  <c:v>0.2941324811751587</c:v>
                </c:pt>
                <c:pt idx="5">
                  <c:v>0.40369896849832143</c:v>
                </c:pt>
                <c:pt idx="6">
                  <c:v>0.43671015216305975</c:v>
                </c:pt>
                <c:pt idx="7">
                  <c:v>0.319322362199534</c:v>
                </c:pt>
                <c:pt idx="8">
                  <c:v>0.4526047204722759</c:v>
                </c:pt>
                <c:pt idx="9">
                  <c:v>0.38206669727020154</c:v>
                </c:pt>
                <c:pt idx="10">
                  <c:v>0.3734047490695871</c:v>
                </c:pt>
                <c:pt idx="11">
                  <c:v>0.3177558030304117</c:v>
                </c:pt>
                <c:pt idx="12">
                  <c:v>0.3333024971352177</c:v>
                </c:pt>
                <c:pt idx="13">
                  <c:v>0.3450345841274571</c:v>
                </c:pt>
                <c:pt idx="14">
                  <c:v>0.3453602835017719</c:v>
                </c:pt>
                <c:pt idx="15">
                  <c:v>0.3951260224330636</c:v>
                </c:pt>
                <c:pt idx="16">
                  <c:v>0.33458295902149127</c:v>
                </c:pt>
                <c:pt idx="17">
                  <c:v>0.3002940097659384</c:v>
                </c:pt>
                <c:pt idx="18">
                  <c:v>0.2524216682141323</c:v>
                </c:pt>
                <c:pt idx="19">
                  <c:v>0.33736545954416597</c:v>
                </c:pt>
                <c:pt idx="20">
                  <c:v>0.25114315863524445</c:v>
                </c:pt>
                <c:pt idx="21">
                  <c:v>0.19456040553249077</c:v>
                </c:pt>
                <c:pt idx="22">
                  <c:v>0.29242536260132</c:v>
                </c:pt>
                <c:pt idx="23">
                  <c:v>0.28714399449049266</c:v>
                </c:pt>
                <c:pt idx="24">
                  <c:v>0.422805038029921</c:v>
                </c:pt>
                <c:pt idx="25">
                  <c:v>0.4226677102640961</c:v>
                </c:pt>
                <c:pt idx="26">
                  <c:v>0.29730125239711513</c:v>
                </c:pt>
                <c:pt idx="27">
                  <c:v>0.3665308020004557</c:v>
                </c:pt>
                <c:pt idx="28">
                  <c:v>0.3520912966196341</c:v>
                </c:pt>
                <c:pt idx="29">
                  <c:v>0.3095370814482571</c:v>
                </c:pt>
                <c:pt idx="30">
                  <c:v>0.2708357690444775</c:v>
                </c:pt>
                <c:pt idx="31">
                  <c:v>0.30831012039921846</c:v>
                </c:pt>
                <c:pt idx="32">
                  <c:v>0.5541787268338235</c:v>
                </c:pt>
                <c:pt idx="33">
                  <c:v>0.5751341971957125</c:v>
                </c:pt>
                <c:pt idx="34">
                  <c:v>0.31538689498850647</c:v>
                </c:pt>
                <c:pt idx="35">
                  <c:v>0.5008088853302617</c:v>
                </c:pt>
                <c:pt idx="36">
                  <c:v>0.40235130860494484</c:v>
                </c:pt>
                <c:pt idx="37">
                  <c:v>0.38854199122533706</c:v>
                </c:pt>
                <c:pt idx="38">
                  <c:v>0.30679708122973776</c:v>
                </c:pt>
                <c:pt idx="39">
                  <c:v>0.358887981280056</c:v>
                </c:pt>
                <c:pt idx="40">
                  <c:v>0.3563184455791271</c:v>
                </c:pt>
                <c:pt idx="41">
                  <c:v>0.3847420994496273</c:v>
                </c:pt>
                <c:pt idx="42">
                  <c:v>0.36654358833726725</c:v>
                </c:pt>
                <c:pt idx="43">
                  <c:v>0.3723653282205316</c:v>
                </c:pt>
                <c:pt idx="44">
                  <c:v>0.4805493152855245</c:v>
                </c:pt>
                <c:pt idx="45">
                  <c:v>0.4721138897074514</c:v>
                </c:pt>
                <c:pt idx="46">
                  <c:v>0.3447001085196939</c:v>
                </c:pt>
                <c:pt idx="47">
                  <c:v>0.40025954105421413</c:v>
                </c:pt>
                <c:pt idx="48">
                  <c:v>0.36618909569625924</c:v>
                </c:pt>
                <c:pt idx="49">
                  <c:v>0.3415647719762062</c:v>
                </c:pt>
                <c:pt idx="50">
                  <c:v>0.47406614876494396</c:v>
                </c:pt>
                <c:pt idx="51">
                  <c:v>0.2824527618757772</c:v>
                </c:pt>
                <c:pt idx="52">
                  <c:v>0.3557825860658785</c:v>
                </c:pt>
                <c:pt idx="53">
                  <c:v>0.3526586984525576</c:v>
                </c:pt>
                <c:pt idx="54">
                  <c:v>0.3331863640924751</c:v>
                </c:pt>
                <c:pt idx="55">
                  <c:v>0.23990538771175277</c:v>
                </c:pt>
                <c:pt idx="56">
                  <c:v>0.4037858166442782</c:v>
                </c:pt>
                <c:pt idx="57">
                  <c:v>0.4143972983230971</c:v>
                </c:pt>
                <c:pt idx="58">
                  <c:v>0.3822468689793049</c:v>
                </c:pt>
                <c:pt idx="59">
                  <c:v>0.30597677652854344</c:v>
                </c:pt>
                <c:pt idx="60">
                  <c:v>0.46598913131218445</c:v>
                </c:pt>
                <c:pt idx="61">
                  <c:v>0.32557109211244</c:v>
                </c:pt>
                <c:pt idx="62">
                  <c:v>0.3955104574012722</c:v>
                </c:pt>
                <c:pt idx="63">
                  <c:v>0.3325036708090105</c:v>
                </c:pt>
                <c:pt idx="64">
                  <c:v>0.31568512207611377</c:v>
                </c:pt>
                <c:pt idx="65">
                  <c:v>0.3919200222983534</c:v>
                </c:pt>
                <c:pt idx="66">
                  <c:v>0.4646689489239726</c:v>
                </c:pt>
                <c:pt idx="67">
                  <c:v>0.3325987125602461</c:v>
                </c:pt>
                <c:pt idx="68">
                  <c:v>0.35264226071816746</c:v>
                </c:pt>
                <c:pt idx="69">
                  <c:v>0.2892654679308108</c:v>
                </c:pt>
                <c:pt idx="70">
                  <c:v>0.36825436926491684</c:v>
                </c:pt>
                <c:pt idx="71">
                  <c:v>0.376684828456713</c:v>
                </c:pt>
                <c:pt idx="72">
                  <c:v>0.4339923713709879</c:v>
                </c:pt>
                <c:pt idx="73">
                  <c:v>0.3740566007945079</c:v>
                </c:pt>
                <c:pt idx="74">
                  <c:v>0.5200541930869428</c:v>
                </c:pt>
                <c:pt idx="75">
                  <c:v>0.508468461732572</c:v>
                </c:pt>
                <c:pt idx="76">
                  <c:v>0.2886988525654904</c:v>
                </c:pt>
                <c:pt idx="77">
                  <c:v>0.2993829360057209</c:v>
                </c:pt>
                <c:pt idx="78">
                  <c:v>0.32660380212211465</c:v>
                </c:pt>
                <c:pt idx="79">
                  <c:v>0.49118983519222825</c:v>
                </c:pt>
                <c:pt idx="80">
                  <c:v>0.4107499254904782</c:v>
                </c:pt>
                <c:pt idx="81">
                  <c:v>0.38095378089498333</c:v>
                </c:pt>
                <c:pt idx="82">
                  <c:v>0.5632160083073474</c:v>
                </c:pt>
                <c:pt idx="83">
                  <c:v>0.6699199204776689</c:v>
                </c:pt>
                <c:pt idx="84">
                  <c:v>0.5910673305068264</c:v>
                </c:pt>
                <c:pt idx="85">
                  <c:v>0.4592627124722083</c:v>
                </c:pt>
                <c:pt idx="86">
                  <c:v>0.30282464520119584</c:v>
                </c:pt>
                <c:pt idx="87">
                  <c:v>0.42239343882045816</c:v>
                </c:pt>
                <c:pt idx="88">
                  <c:v>0.4484592374531124</c:v>
                </c:pt>
                <c:pt idx="89">
                  <c:v>0.3202514755069642</c:v>
                </c:pt>
                <c:pt idx="90">
                  <c:v>0.21250138167348293</c:v>
                </c:pt>
                <c:pt idx="91">
                  <c:v>0.3087235440143999</c:v>
                </c:pt>
                <c:pt idx="92">
                  <c:v>0.350860280610629</c:v>
                </c:pt>
                <c:pt idx="93">
                  <c:v>0.38487097684311045</c:v>
                </c:pt>
                <c:pt idx="94">
                  <c:v>0.3496227288231703</c:v>
                </c:pt>
                <c:pt idx="95">
                  <c:v>0.43349887260032455</c:v>
                </c:pt>
                <c:pt idx="96">
                  <c:v>0.48673734581906686</c:v>
                </c:pt>
                <c:pt idx="97">
                  <c:v>0.3271518690612684</c:v>
                </c:pt>
                <c:pt idx="98">
                  <c:v>0.3731407023760847</c:v>
                </c:pt>
                <c:pt idx="99">
                  <c:v>0.31779996033582336</c:v>
                </c:pt>
                <c:pt idx="100">
                  <c:v>0.4191425963244286</c:v>
                </c:pt>
                <c:pt idx="101">
                  <c:v>0.3237822737753645</c:v>
                </c:pt>
                <c:pt idx="102">
                  <c:v>0.5168929384517797</c:v>
                </c:pt>
                <c:pt idx="103">
                  <c:v>0.44378753944823374</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2446039258606357</c:v>
                </c:pt>
                <c:pt idx="1">
                  <c:v>0.3432512202665089</c:v>
                </c:pt>
                <c:pt idx="2">
                  <c:v>0.36531637190427535</c:v>
                </c:pt>
                <c:pt idx="3">
                  <c:v>0.4295617403843324</c:v>
                </c:pt>
                <c:pt idx="4">
                  <c:v>0.507130290503912</c:v>
                </c:pt>
                <c:pt idx="5">
                  <c:v>0.48363678693694406</c:v>
                </c:pt>
                <c:pt idx="6">
                  <c:v>0.45584660036188324</c:v>
                </c:pt>
                <c:pt idx="7">
                  <c:v>0.3940647502409707</c:v>
                </c:pt>
                <c:pt idx="8">
                  <c:v>0.3767361705527214</c:v>
                </c:pt>
                <c:pt idx="9">
                  <c:v>0.4583571604191357</c:v>
                </c:pt>
                <c:pt idx="10">
                  <c:v>0.4180731283853327</c:v>
                </c:pt>
                <c:pt idx="11">
                  <c:v>0.33663155403006273</c:v>
                </c:pt>
                <c:pt idx="12">
                  <c:v>0.35459884247332535</c:v>
                </c:pt>
                <c:pt idx="13">
                  <c:v>0.45623946037099494</c:v>
                </c:pt>
                <c:pt idx="14">
                  <c:v>0.4510327591294786</c:v>
                </c:pt>
                <c:pt idx="15">
                  <c:v>0.3960156597369077</c:v>
                </c:pt>
                <c:pt idx="16">
                  <c:v>0.3363987487522414</c:v>
                </c:pt>
                <c:pt idx="17">
                  <c:v>0.31357303269090436</c:v>
                </c:pt>
                <c:pt idx="18">
                  <c:v>0.35047273488469455</c:v>
                </c:pt>
                <c:pt idx="19">
                  <c:v>0.30040436657871883</c:v>
                </c:pt>
                <c:pt idx="20">
                  <c:v>0.3467459932520158</c:v>
                </c:pt>
                <c:pt idx="21">
                  <c:v>0.32465937011391555</c:v>
                </c:pt>
                <c:pt idx="22">
                  <c:v>0.2720448566735417</c:v>
                </c:pt>
                <c:pt idx="23">
                  <c:v>0.4297145199443216</c:v>
                </c:pt>
                <c:pt idx="24">
                  <c:v>0.47480102500624344</c:v>
                </c:pt>
                <c:pt idx="25">
                  <c:v>0.42886407202189647</c:v>
                </c:pt>
                <c:pt idx="26">
                  <c:v>0.3609760297690577</c:v>
                </c:pt>
                <c:pt idx="27">
                  <c:v>0.3842398539200094</c:v>
                </c:pt>
                <c:pt idx="28">
                  <c:v>0.3865995405951538</c:v>
                </c:pt>
                <c:pt idx="29">
                  <c:v>0.5792520576946458</c:v>
                </c:pt>
                <c:pt idx="30">
                  <c:v>0.6172776277896868</c:v>
                </c:pt>
                <c:pt idx="31">
                  <c:v>0.6006242910527427</c:v>
                </c:pt>
                <c:pt idx="32">
                  <c:v>0.5470129539900267</c:v>
                </c:pt>
                <c:pt idx="33">
                  <c:v>0.3913176580867313</c:v>
                </c:pt>
                <c:pt idx="34">
                  <c:v>0.36715776869615013</c:v>
                </c:pt>
                <c:pt idx="35">
                  <c:v>0.3369056319488373</c:v>
                </c:pt>
                <c:pt idx="36">
                  <c:v>0.3607746792807965</c:v>
                </c:pt>
                <c:pt idx="37">
                  <c:v>0.36650661919566746</c:v>
                </c:pt>
                <c:pt idx="38">
                  <c:v>0.3050185548116573</c:v>
                </c:pt>
                <c:pt idx="39">
                  <c:v>0.302906033978021</c:v>
                </c:pt>
                <c:pt idx="40">
                  <c:v>0.42313371464901833</c:v>
                </c:pt>
                <c:pt idx="41">
                  <c:v>0.40051865046102264</c:v>
                </c:pt>
                <c:pt idx="42">
                  <c:v>0.2828557747415378</c:v>
                </c:pt>
                <c:pt idx="43">
                  <c:v>0.4648924645397516</c:v>
                </c:pt>
                <c:pt idx="44">
                  <c:v>0.3940022765492011</c:v>
                </c:pt>
                <c:pt idx="45">
                  <c:v>0.37414294497190836</c:v>
                </c:pt>
                <c:pt idx="46">
                  <c:v>0.2905937267779988</c:v>
                </c:pt>
                <c:pt idx="47">
                  <c:v>0.28055108033546944</c:v>
                </c:pt>
                <c:pt idx="48">
                  <c:v>0.39710859811612836</c:v>
                </c:pt>
                <c:pt idx="49">
                  <c:v>0.368341191024154</c:v>
                </c:pt>
                <c:pt idx="50">
                  <c:v>0.4468485635120083</c:v>
                </c:pt>
                <c:pt idx="51">
                  <c:v>0.40154746700723715</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92843811394335</c:v>
                </c:pt>
              </c:numCache>
            </c:numRef>
          </c:xVal>
          <c:yVal>
            <c:numRef>
              <c:f>Sheet1!$B$162:$B$163</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92843811394335</c:v>
                </c:pt>
                <c:pt idx="1">
                  <c:v>8.92843811394335</c:v>
                </c:pt>
              </c:numCache>
            </c:numRef>
          </c:xVal>
          <c:yVal>
            <c:numRef>
              <c:f>Sheet1!$B$166:$B$167</c:f>
              <c:numCache>
                <c:formatCode>General</c:formatCode>
                <c:ptCount val="2"/>
                <c:pt idx="0">
                  <c:v>0.44922171194155447</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92843811394335</c:v>
                </c:pt>
              </c:numCache>
            </c:numRef>
          </c:xVal>
          <c:yVal>
            <c:numRef>
              <c:f>Sheet1!$B$170:$B$171</c:f>
              <c:numCache>
                <c:formatCode>General</c:formatCode>
                <c:ptCount val="2"/>
                <c:pt idx="0">
                  <c:v>0.44922171194155447</c:v>
                </c:pt>
                <c:pt idx="1">
                  <c:v>0.44922171194155447</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92843811394335</c:v>
                </c:pt>
                <c:pt idx="1">
                  <c:v>8.92843811394335</c:v>
                </c:pt>
              </c:numCache>
            </c:numRef>
          </c:xVal>
          <c:yVal>
            <c:numRef>
              <c:f>Sheet1!$B$174:$B$175</c:f>
              <c:numCache>
                <c:formatCode>General</c:formatCode>
                <c:ptCount val="2"/>
                <c:pt idx="0">
                  <c:v>0.44922171194155447</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217720755639863</c:v>
                </c:pt>
              </c:numCache>
            </c:numRef>
          </c:xVal>
          <c:yVal>
            <c:numRef>
              <c:f>Sheet1!$B$178:$B$179</c:f>
              <c:numCache>
                <c:formatCode>General</c:formatCode>
                <c:ptCount val="2"/>
                <c:pt idx="0">
                  <c:v>0.37134172974334284</c:v>
                </c:pt>
                <c:pt idx="1">
                  <c:v>0.37134172974334284</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217720755639863</c:v>
                </c:pt>
                <c:pt idx="1">
                  <c:v>10.217720755639863</c:v>
                </c:pt>
              </c:numCache>
            </c:numRef>
          </c:xVal>
          <c:yVal>
            <c:numRef>
              <c:f>Sheet1!$B$182:$B$183</c:f>
              <c:numCache>
                <c:formatCode>General</c:formatCode>
                <c:ptCount val="2"/>
                <c:pt idx="0">
                  <c:v>0.37134172974334284</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26</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19</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92843811394335</c:v>
                </c:pt>
                <c:pt idx="53">
                  <c:v>8.92843811394335</c:v>
                </c:pt>
                <c:pt idx="54">
                  <c:v>10.217720755639863</c:v>
                </c:pt>
              </c:numCache>
            </c:numRef>
          </c:xVal>
          <c:yVal>
            <c:numRef>
              <c:f>Sheet1!$B$186:$B$240</c:f>
              <c:numCache>
                <c:formatCode>General</c:formatCode>
                <c:ptCount val="55"/>
                <c:pt idx="0">
                  <c:v>0.3305751966055439</c:v>
                </c:pt>
                <c:pt idx="1">
                  <c:v>0.3490170477529596</c:v>
                </c:pt>
                <c:pt idx="2">
                  <c:v>0.3244561022025527</c:v>
                </c:pt>
                <c:pt idx="3">
                  <c:v>0.4936282224890002</c:v>
                </c:pt>
                <c:pt idx="4">
                  <c:v>0.48531640225354533</c:v>
                </c:pt>
                <c:pt idx="5">
                  <c:v>0.4386953059038058</c:v>
                </c:pt>
                <c:pt idx="6">
                  <c:v>0.38891499299654975</c:v>
                </c:pt>
                <c:pt idx="7">
                  <c:v>0.39803020864720495</c:v>
                </c:pt>
                <c:pt idx="8">
                  <c:v>0.3625962424399529</c:v>
                </c:pt>
                <c:pt idx="9">
                  <c:v>0.5296541642653472</c:v>
                </c:pt>
                <c:pt idx="10">
                  <c:v>0.49131468531590483</c:v>
                </c:pt>
                <c:pt idx="11">
                  <c:v>0.32710187056238504</c:v>
                </c:pt>
                <c:pt idx="12">
                  <c:v>0.37877892151755743</c:v>
                </c:pt>
                <c:pt idx="13">
                  <c:v>0.4688075325562353</c:v>
                </c:pt>
                <c:pt idx="14">
                  <c:v>0.4637696996518972</c:v>
                </c:pt>
                <c:pt idx="15">
                  <c:v>0.34235430231712616</c:v>
                </c:pt>
                <c:pt idx="16">
                  <c:v>0.29303307250427024</c:v>
                </c:pt>
                <c:pt idx="17">
                  <c:v>0.37224302798938724</c:v>
                </c:pt>
                <c:pt idx="18">
                  <c:v>0.3640399379605007</c:v>
                </c:pt>
                <c:pt idx="19">
                  <c:v>0.36031290810201544</c:v>
                </c:pt>
                <c:pt idx="20">
                  <c:v>0.36361105770125846</c:v>
                </c:pt>
                <c:pt idx="21">
                  <c:v>0.331179253308702</c:v>
                </c:pt>
                <c:pt idx="22">
                  <c:v>0.3079895164744638</c:v>
                </c:pt>
                <c:pt idx="23">
                  <c:v>0.36567693162605897</c:v>
                </c:pt>
                <c:pt idx="24">
                  <c:v>0.501323904887234</c:v>
                </c:pt>
                <c:pt idx="25">
                  <c:v>0.4714110169468466</c:v>
                </c:pt>
                <c:pt idx="26">
                  <c:v>0.2923686101307963</c:v>
                </c:pt>
                <c:pt idx="27">
                  <c:v>0.37709964388277795</c:v>
                </c:pt>
                <c:pt idx="28">
                  <c:v>0.3579027218564147</c:v>
                </c:pt>
                <c:pt idx="29">
                  <c:v>0.5208228552651764</c:v>
                </c:pt>
                <c:pt idx="30">
                  <c:v>0.5181770869053439</c:v>
                </c:pt>
                <c:pt idx="31">
                  <c:v>0.503873024174561</c:v>
                </c:pt>
                <c:pt idx="32">
                  <c:v>0.5009614708653392</c:v>
                </c:pt>
                <c:pt idx="33">
                  <c:v>0.3589235776847519</c:v>
                </c:pt>
                <c:pt idx="34">
                  <c:v>0.35912291639679406</c:v>
                </c:pt>
                <c:pt idx="35">
                  <c:v>0.3597390542340152</c:v>
                </c:pt>
                <c:pt idx="36">
                  <c:v>0.38666186149377024</c:v>
                </c:pt>
                <c:pt idx="37">
                  <c:v>0.3928353210000456</c:v>
                </c:pt>
                <c:pt idx="38">
                  <c:v>0.30884123642591677</c:v>
                </c:pt>
                <c:pt idx="39">
                  <c:v>0.32435945313004744</c:v>
                </c:pt>
                <c:pt idx="40">
                  <c:v>0.37763725434858875</c:v>
                </c:pt>
                <c:pt idx="41">
                  <c:v>0.35200712843359205</c:v>
                </c:pt>
                <c:pt idx="42">
                  <c:v>0.3760727474874094</c:v>
                </c:pt>
                <c:pt idx="43">
                  <c:v>0.4253033687947916</c:v>
                </c:pt>
                <c:pt idx="44">
                  <c:v>0.40835353770417626</c:v>
                </c:pt>
                <c:pt idx="45">
                  <c:v>0.3522547916818869</c:v>
                </c:pt>
                <c:pt idx="46">
                  <c:v>0.35431462503965594</c:v>
                </c:pt>
                <c:pt idx="47">
                  <c:v>0.32960870588049107</c:v>
                </c:pt>
                <c:pt idx="48">
                  <c:v>0.41333096493819865</c:v>
                </c:pt>
                <c:pt idx="49">
                  <c:v>0.32170160363615197</c:v>
                </c:pt>
                <c:pt idx="50">
                  <c:v>0.46570268110200297</c:v>
                </c:pt>
                <c:pt idx="51">
                  <c:v>0.43807312749955307</c:v>
                </c:pt>
                <c:pt idx="52">
                  <c:v>0.44922171194155447</c:v>
                </c:pt>
                <c:pt idx="53">
                  <c:v>0.44922171194155447</c:v>
                </c:pt>
                <c:pt idx="54">
                  <c:v>0.3713417297433429</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8039039045732027"/>
          <c:min val="0.15564832442599263"/>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366732900327503</c:v>
                </c:pt>
                <c:pt idx="1">
                  <c:v>1.0292464332652447</c:v>
                </c:pt>
                <c:pt idx="2">
                  <c:v>1.0452177268926481</c:v>
                </c:pt>
                <c:pt idx="3">
                  <c:v>1.0416833603102615</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445696684346638</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445696684346638</c:v>
                </c:pt>
                <c:pt idx="1">
                  <c:v>0.5445696684346638</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445696684346638</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445696684346638</c:v>
                </c:pt>
                <c:pt idx="1">
                  <c:v>0.5445696684346638</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827075146103807</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827075146103807</c:v>
                </c:pt>
                <c:pt idx="1">
                  <c:v>1.1827075146103807</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366732900327503</c:v>
                </c:pt>
                <c:pt idx="1">
                  <c:v>1.0292464332652447</c:v>
                </c:pt>
                <c:pt idx="2">
                  <c:v>1.0452177268926481</c:v>
                </c:pt>
                <c:pt idx="3">
                  <c:v>1.0416833603102615</c:v>
                </c:pt>
                <c:pt idx="4">
                  <c:v>0.5445696684346638</c:v>
                </c:pt>
                <c:pt idx="5">
                  <c:v>0.5445696684346638</c:v>
                </c:pt>
                <c:pt idx="6">
                  <c:v>1.1827075146103807</c:v>
                </c:pt>
              </c:numCache>
            </c:numRef>
          </c:xVal>
          <c:yVal>
            <c:numRef>
              <c:f>Sheet1!$B$34:$B$40</c:f>
              <c:numCache>
                <c:formatCode>General</c:formatCode>
                <c:ptCount val="7"/>
                <c:pt idx="0">
                  <c:v>1.298670542282832e-06</c:v>
                </c:pt>
                <c:pt idx="1">
                  <c:v>5.484866207184439e-07</c:v>
                </c:pt>
                <c:pt idx="2">
                  <c:v>5.24162501853103e-07</c:v>
                </c:pt>
                <c:pt idx="3">
                  <c:v>5.295453064567422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89254714157438</c:v>
                </c:pt>
                <c:pt idx="1">
                  <c:v>1.7038454481113527</c:v>
                </c:pt>
                <c:pt idx="2">
                  <c:v>1.6057708935497417</c:v>
                </c:pt>
                <c:pt idx="3">
                  <c:v>1.722721369696006</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586699765846387</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586699765846387</c:v>
                </c:pt>
                <c:pt idx="1">
                  <c:v>0.8586699765846387</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586699765846387</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586699765846387</c:v>
                </c:pt>
                <c:pt idx="1">
                  <c:v>0.8586699765846387</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9349315218118615</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9349315218118615</c:v>
                </c:pt>
                <c:pt idx="1">
                  <c:v>1.9349315218118615</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89254714157438</c:v>
                </c:pt>
                <c:pt idx="1">
                  <c:v>1.7038454481113527</c:v>
                </c:pt>
                <c:pt idx="2">
                  <c:v>1.6057708935497417</c:v>
                </c:pt>
                <c:pt idx="3">
                  <c:v>1.722721369696006</c:v>
                </c:pt>
                <c:pt idx="4">
                  <c:v>0.8586699765846387</c:v>
                </c:pt>
                <c:pt idx="5">
                  <c:v>0.8586699765846387</c:v>
                </c:pt>
                <c:pt idx="6">
                  <c:v>1.9349315218118615</c:v>
                </c:pt>
              </c:numCache>
            </c:numRef>
          </c:xVal>
          <c:yVal>
            <c:numRef>
              <c:f>Sheet1!$B$34:$B$40</c:f>
              <c:numCache>
                <c:formatCode>General</c:formatCode>
                <c:ptCount val="7"/>
                <c:pt idx="0">
                  <c:v>1.259026041233977e-06</c:v>
                </c:pt>
                <c:pt idx="1">
                  <c:v>5.234405281461716e-07</c:v>
                </c:pt>
                <c:pt idx="2">
                  <c:v>6.12003064559877e-07</c:v>
                </c:pt>
                <c:pt idx="3">
                  <c:v>5.063953373710971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492741507644326</c:v>
                </c:pt>
                <c:pt idx="1">
                  <c:v>1.0480321181535286</c:v>
                </c:pt>
                <c:pt idx="2">
                  <c:v>0.963948332369385</c:v>
                </c:pt>
                <c:pt idx="3">
                  <c:v>1.0852596692462455</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228028845176764</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228028845176764</c:v>
                </c:pt>
                <c:pt idx="1">
                  <c:v>0.5228028845176764</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228028845176764</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228028845176764</c:v>
                </c:pt>
                <c:pt idx="1">
                  <c:v>0.5228028845176764</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95891507148947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958915071489473</c:v>
                </c:pt>
                <c:pt idx="1">
                  <c:v>1.195891507148947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492741507644326</c:v>
                </c:pt>
                <c:pt idx="1">
                  <c:v>1.0480321181535286</c:v>
                </c:pt>
                <c:pt idx="2">
                  <c:v>0.963948332369385</c:v>
                </c:pt>
                <c:pt idx="3">
                  <c:v>1.0852596692462455</c:v>
                </c:pt>
                <c:pt idx="4">
                  <c:v>0.5228028845176764</c:v>
                </c:pt>
                <c:pt idx="5">
                  <c:v>0.5228028845176764</c:v>
                </c:pt>
                <c:pt idx="6">
                  <c:v>1.1958915071489473</c:v>
                </c:pt>
              </c:numCache>
            </c:numRef>
          </c:xVal>
          <c:yVal>
            <c:numRef>
              <c:f>Sheet1!$B$34:$B$40</c:f>
              <c:numCache>
                <c:formatCode>General</c:formatCode>
                <c:ptCount val="7"/>
                <c:pt idx="0">
                  <c:v>1.2484223863903728e-06</c:v>
                </c:pt>
                <c:pt idx="1">
                  <c:v>5.282621771024258e-07</c:v>
                </c:pt>
                <c:pt idx="2">
                  <c:v>6.496713589647616e-07</c:v>
                </c:pt>
                <c:pt idx="3">
                  <c:v>4.745090488535617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1.2866444377395972e-06</c:v>
                </c:pt>
                <c:pt idx="1">
                  <c:v>9.846866456304776e-07</c:v>
                </c:pt>
                <c:pt idx="2">
                  <c:v>3.407304784435159e-07</c:v>
                </c:pt>
                <c:pt idx="3">
                  <c:v>2.888034094975312e-07</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c:v>
                </c:pt>
              </c:numCache>
            </c:numRef>
          </c:xVal>
          <c:yVal>
            <c:numRef>
              <c:f>Sheet1!$B$10:$B$11</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c:v>
                </c:pt>
                <c:pt idx="1">
                  <c:v>6.833300000000015</c:v>
                </c:pt>
              </c:numCache>
            </c:numRef>
          </c:xVal>
          <c:yVal>
            <c:numRef>
              <c:f>Sheet1!$B$14:$B$15</c:f>
              <c:numCache>
                <c:formatCode>General</c:formatCode>
                <c:ptCount val="2"/>
                <c:pt idx="0">
                  <c:v>1.2866444377395972e-06</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c:v>
                </c:pt>
              </c:numCache>
            </c:numRef>
          </c:xVal>
          <c:yVal>
            <c:numRef>
              <c:f>Sheet1!$B$18:$B$19</c:f>
              <c:numCache>
                <c:formatCode>General</c:formatCode>
                <c:ptCount val="2"/>
                <c:pt idx="0">
                  <c:v>1.2866444377395972e-06</c:v>
                </c:pt>
                <c:pt idx="1">
                  <c:v>1.2866444377395972e-06</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c:v>
                </c:pt>
                <c:pt idx="1">
                  <c:v>6.833300000000015</c:v>
                </c:pt>
              </c:numCache>
            </c:numRef>
          </c:xVal>
          <c:yVal>
            <c:numRef>
              <c:f>Sheet1!$B$22:$B$23</c:f>
              <c:numCache>
                <c:formatCode>General</c:formatCode>
                <c:ptCount val="2"/>
                <c:pt idx="0">
                  <c:v>1.2866444377395972e-06</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4.839591358996193</c:v>
                </c:pt>
              </c:numCache>
            </c:numRef>
          </c:xVal>
          <c:yVal>
            <c:numRef>
              <c:f>Sheet1!$B$26:$B$27</c:f>
              <c:numCache>
                <c:formatCode>General</c:formatCode>
                <c:ptCount val="2"/>
                <c:pt idx="0">
                  <c:v>3.1476694397052356e-07</c:v>
                </c:pt>
                <c:pt idx="1">
                  <c:v>3.1476694397052356e-07</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4.839591358996193</c:v>
                </c:pt>
                <c:pt idx="1">
                  <c:v>14.839591358996193</c:v>
                </c:pt>
              </c:numCache>
            </c:numRef>
          </c:xVal>
          <c:yVal>
            <c:numRef>
              <c:f>Sheet1!$B$30:$B$31</c:f>
              <c:numCache>
                <c:formatCode>General</c:formatCode>
                <c:ptCount val="2"/>
                <c:pt idx="0">
                  <c:v>3.1476694397052356e-07</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c:v>
                </c:pt>
                <c:pt idx="5">
                  <c:v>6.833300000000015</c:v>
                </c:pt>
                <c:pt idx="6">
                  <c:v>14.839591358996193</c:v>
                </c:pt>
              </c:numCache>
            </c:numRef>
          </c:xVal>
          <c:yVal>
            <c:numRef>
              <c:f>Sheet1!$B$34:$B$40</c:f>
              <c:numCache>
                <c:formatCode>General</c:formatCode>
                <c:ptCount val="7"/>
                <c:pt idx="0">
                  <c:v>1.286644437739599e-06</c:v>
                </c:pt>
                <c:pt idx="1">
                  <c:v>5.380735111905084e-07</c:v>
                </c:pt>
                <c:pt idx="2">
                  <c:v>5.380735111905084e-07</c:v>
                </c:pt>
                <c:pt idx="3">
                  <c:v>5.380735111905084e-07</c:v>
                </c:pt>
                <c:pt idx="4">
                  <c:v>1.2866444377395972e-06</c:v>
                </c:pt>
                <c:pt idx="5">
                  <c:v>1.2866444377395972e-06</c:v>
                </c:pt>
                <c:pt idx="6">
                  <c:v>3.1476694397052356e-07</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8.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1.5439733252875167e-06"/>
          <c:min val="2.3104272759802496e-07"/>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49341112418857547</c:v>
                </c:pt>
                <c:pt idx="1">
                  <c:v>0.9841700040123854</c:v>
                </c:pt>
                <c:pt idx="2">
                  <c:v>0.9944387922923345</c:v>
                </c:pt>
                <c:pt idx="3">
                  <c:v>1.0320736741822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488559781450541</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488559781450541</c:v>
                </c:pt>
                <c:pt idx="1">
                  <c:v>0.488559781450541</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488559781450541</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488559781450541</c:v>
                </c:pt>
                <c:pt idx="1">
                  <c:v>0.488559781450541</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021859261350183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0218592613501831</c:v>
                </c:pt>
                <c:pt idx="1">
                  <c:v>1.021859261350183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49341112418857547</c:v>
                </c:pt>
                <c:pt idx="1">
                  <c:v>0.9841700040123854</c:v>
                </c:pt>
                <c:pt idx="2">
                  <c:v>0.9944387922923345</c:v>
                </c:pt>
                <c:pt idx="3">
                  <c:v>1.03207367418228</c:v>
                </c:pt>
                <c:pt idx="4">
                  <c:v>0.488559781450541</c:v>
                </c:pt>
                <c:pt idx="5">
                  <c:v>0.488559781450541</c:v>
                </c:pt>
                <c:pt idx="6">
                  <c:v>1.0218592613501831</c:v>
                </c:pt>
              </c:numCache>
            </c:numRef>
          </c:xVal>
          <c:yVal>
            <c:numRef>
              <c:f>Sheet1!$B$34:$B$40</c:f>
              <c:numCache>
                <c:formatCode>General</c:formatCode>
                <c:ptCount val="7"/>
                <c:pt idx="0">
                  <c:v>2.8294588144565413e-05</c:v>
                </c:pt>
                <c:pt idx="1">
                  <c:v>6.116836733285402e-06</c:v>
                </c:pt>
                <c:pt idx="2">
                  <c:v>5.652782707712723e-06</c:v>
                </c:pt>
                <c:pt idx="3">
                  <c:v>3.952034969337104e-06</c:v>
                </c:pt>
                <c:pt idx="4">
                  <c:v>2.8513823858229267e-05</c:v>
                </c:pt>
                <c:pt idx="5">
                  <c:v>2.8513823858229267e-05</c:v>
                </c:pt>
                <c:pt idx="6">
                  <c:v>4.413631728796173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8185357322536595</c:v>
                </c:pt>
                <c:pt idx="1">
                  <c:v>1.5155047796689205</c:v>
                </c:pt>
                <c:pt idx="2">
                  <c:v>1.6252641054171302</c:v>
                </c:pt>
                <c:pt idx="3">
                  <c:v>1.5718137521612439</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821798133375838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8217981333758382</c:v>
                </c:pt>
                <c:pt idx="1">
                  <c:v>0.821798133375838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821798133375838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8217981333758382</c:v>
                </c:pt>
                <c:pt idx="1">
                  <c:v>0.821798133375838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593925133235871</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593925133235871</c:v>
                </c:pt>
                <c:pt idx="1">
                  <c:v>1.593925133235871</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8185357322536595</c:v>
                </c:pt>
                <c:pt idx="1">
                  <c:v>1.5155047796689205</c:v>
                </c:pt>
                <c:pt idx="2">
                  <c:v>1.6252641054171302</c:v>
                </c:pt>
                <c:pt idx="3">
                  <c:v>1.5718137521612439</c:v>
                </c:pt>
                <c:pt idx="4">
                  <c:v>0.8217981333758382</c:v>
                </c:pt>
                <c:pt idx="5">
                  <c:v>0.8217981333758382</c:v>
                </c:pt>
                <c:pt idx="6">
                  <c:v>1.593925133235871</c:v>
                </c:pt>
              </c:numCache>
            </c:numRef>
          </c:xVal>
          <c:yVal>
            <c:numRef>
              <c:f>Sheet1!$B$34:$B$40</c:f>
              <c:numCache>
                <c:formatCode>General</c:formatCode>
                <c:ptCount val="7"/>
                <c:pt idx="0">
                  <c:v>2.861565230596136e-05</c:v>
                </c:pt>
                <c:pt idx="1">
                  <c:v>6.861345107766455e-06</c:v>
                </c:pt>
                <c:pt idx="2">
                  <c:v>3.4354568290138706e-06</c:v>
                </c:pt>
                <c:pt idx="3">
                  <c:v>5.103788312159048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096C-4121-9522-6AB7243CCAAE}"/>
            </c:ext>
          </c:extLst>
        </c:ser>
        <c:ser>
          <c:idx val="1"/>
          <c:order val="1"/>
          <c:tx>
            <c:strRef>
              <c:f>Sheet1!$B$3</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4:$A$7</c:f>
              <c:numCache>
                <c:formatCode>General</c:formatCode>
                <c:ptCount val="4"/>
                <c:pt idx="0">
                  <c:v>0.5681727475305153</c:v>
                </c:pt>
                <c:pt idx="1">
                  <c:v>1.0607482354861084</c:v>
                </c:pt>
                <c:pt idx="2">
                  <c:v>1.1044654387276558</c:v>
                </c:pt>
                <c:pt idx="3">
                  <c:v>1.1084678416425788</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096C-4121-9522-6AB7243CCAAE}"/>
            </c:ext>
          </c:extLst>
        </c:ser>
        <c:ser>
          <c:idx val="2"/>
          <c:order val="2"/>
          <c:tx>
            <c:strRef>
              <c:f>Sheet1!$B$9</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0:$A$11</c:f>
              <c:numCache>
                <c:formatCode>General</c:formatCode>
                <c:ptCount val="2"/>
                <c:pt idx="0">
                  <c:v>0</c:v>
                </c:pt>
                <c:pt idx="1">
                  <c:v>0.5679995818142762</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5-096C-4121-9522-6AB7243CCAAE}"/>
            </c:ext>
          </c:extLst>
        </c:ser>
        <c:ser>
          <c:idx val="3"/>
          <c:order val="3"/>
          <c:tx>
            <c:strRef>
              <c:f>Sheet1!$B$13</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A$15</c:f>
              <c:numCache>
                <c:formatCode>General</c:formatCode>
                <c:ptCount val="2"/>
                <c:pt idx="0">
                  <c:v>0.5679995818142762</c:v>
                </c:pt>
                <c:pt idx="1">
                  <c:v>0.5679995818142762</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7</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8:$A$19</c:f>
              <c:numCache>
                <c:formatCode>General</c:formatCode>
                <c:ptCount val="2"/>
                <c:pt idx="0">
                  <c:v>0</c:v>
                </c:pt>
                <c:pt idx="1">
                  <c:v>0.5679995818142762</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D-096C-4121-9522-6AB7243CCAAE}"/>
            </c:ext>
          </c:extLst>
        </c:ser>
        <c:ser>
          <c:idx val="5"/>
          <c:order val="5"/>
          <c:tx>
            <c:strRef>
              <c:f>Sheet1!$B$21</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22:$A$23</c:f>
              <c:numCache>
                <c:formatCode>General</c:formatCode>
                <c:ptCount val="2"/>
                <c:pt idx="0">
                  <c:v>0.5679995818142762</c:v>
                </c:pt>
                <c:pt idx="1">
                  <c:v>0.5679995818142762</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25</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26:$A$27</c:f>
              <c:numCache>
                <c:formatCode>General</c:formatCode>
                <c:ptCount val="2"/>
                <c:pt idx="0">
                  <c:v>0</c:v>
                </c:pt>
                <c:pt idx="1">
                  <c:v>1.108181496354888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5-096C-4121-9522-6AB7243CCAAE}"/>
            </c:ext>
          </c:extLst>
        </c:ser>
        <c:ser>
          <c:idx val="7"/>
          <c:order val="7"/>
          <c:tx>
            <c:strRef>
              <c:f>Sheet1!$B$29</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30:$A$31</c:f>
              <c:numCache>
                <c:formatCode>General</c:formatCode>
                <c:ptCount val="2"/>
                <c:pt idx="0">
                  <c:v>1.1081814963548882</c:v>
                </c:pt>
                <c:pt idx="1">
                  <c:v>1.108181496354888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33</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34:$A$40</c:f>
              <c:numCache>
                <c:formatCode>General</c:formatCode>
                <c:ptCount val="7"/>
                <c:pt idx="0">
                  <c:v>0.5681727475305153</c:v>
                </c:pt>
                <c:pt idx="1">
                  <c:v>1.0607482354861084</c:v>
                </c:pt>
                <c:pt idx="2">
                  <c:v>1.1044654387276558</c:v>
                </c:pt>
                <c:pt idx="3">
                  <c:v>1.1084678416425788</c:v>
                </c:pt>
                <c:pt idx="4">
                  <c:v>0.5679995818142762</c:v>
                </c:pt>
                <c:pt idx="5">
                  <c:v>0.5679995818142762</c:v>
                </c:pt>
                <c:pt idx="6">
                  <c:v>1.1081814963548882</c:v>
                </c:pt>
              </c:numCache>
            </c:numRef>
          </c:xVal>
          <c:yVal>
            <c:numRef>
              <c:f>Sheet1!$B$34:$B$40</c:f>
              <c:numCache>
                <c:formatCode>General</c:formatCode>
                <c:ptCount val="7"/>
                <c:pt idx="0">
                  <c:v>2.8506098077489013e-05</c:v>
                </c:pt>
                <c:pt idx="1">
                  <c:v>6.529864556093415e-06</c:v>
                </c:pt>
                <c:pt idx="2">
                  <c:v>4.579423474816606e-06</c:v>
                </c:pt>
                <c:pt idx="3">
                  <c:v>4.40085644650156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Paysan Bret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1685836081396284</c:v>
                </c:pt>
                <c:pt idx="1">
                  <c:v>1.136056249720095</c:v>
                </c:pt>
                <c:pt idx="2">
                  <c:v>1.2540144545028489</c:v>
                </c:pt>
                <c:pt idx="3">
                  <c:v>0.9125622767704803</c:v>
                </c:pt>
                <c:pt idx="4">
                  <c:v>0.9966608312260908</c:v>
                </c:pt>
                <c:pt idx="5">
                  <c:v>1.0937808864897742</c:v>
                </c:pt>
                <c:pt idx="6">
                  <c:v>1.1335826377295493</c:v>
                </c:pt>
                <c:pt idx="7">
                  <c:v>1.0607599283734392</c:v>
                </c:pt>
                <c:pt idx="8">
                  <c:v>0.9726102342040321</c:v>
                </c:pt>
                <c:pt idx="9">
                  <c:v>1.1746735074626866</c:v>
                </c:pt>
                <c:pt idx="10">
                  <c:v>1.0925772016363187</c:v>
                </c:pt>
                <c:pt idx="11">
                  <c:v>1.2197537408737138</c:v>
                </c:pt>
                <c:pt idx="12">
                  <c:v>1.1978199481714757</c:v>
                </c:pt>
                <c:pt idx="13">
                  <c:v>0.9479194129536866</c:v>
                </c:pt>
                <c:pt idx="14">
                  <c:v>0.8463993616596849</c:v>
                </c:pt>
                <c:pt idx="15">
                  <c:v>1.04601560501407</c:v>
                </c:pt>
                <c:pt idx="16">
                  <c:v>1.0476169942109292</c:v>
                </c:pt>
                <c:pt idx="17">
                  <c:v>1.085727026527305</c:v>
                </c:pt>
                <c:pt idx="18">
                  <c:v>1.1426805743262756</c:v>
                </c:pt>
                <c:pt idx="19">
                  <c:v>1.1698700065293524</c:v>
                </c:pt>
                <c:pt idx="20">
                  <c:v>1.2205382746190965</c:v>
                </c:pt>
                <c:pt idx="21">
                  <c:v>1.131661376106288</c:v>
                </c:pt>
                <c:pt idx="22">
                  <c:v>1.0555417443546717</c:v>
                </c:pt>
                <c:pt idx="23">
                  <c:v>0.9175630544798902</c:v>
                </c:pt>
                <c:pt idx="24">
                  <c:v>0.9770025639033486</c:v>
                </c:pt>
                <c:pt idx="25">
                  <c:v>1.079461694532193</c:v>
                </c:pt>
                <c:pt idx="26">
                  <c:v>1.0983696861195562</c:v>
                </c:pt>
                <c:pt idx="27">
                  <c:v>1.1156343332034802</c:v>
                </c:pt>
                <c:pt idx="28">
                  <c:v>1.2382027839909664</c:v>
                </c:pt>
                <c:pt idx="29">
                  <c:v>1.161398254763257</c:v>
                </c:pt>
                <c:pt idx="30">
                  <c:v>1.5008991314772537</c:v>
                </c:pt>
                <c:pt idx="31">
                  <c:v>1.1994563583525404</c:v>
                </c:pt>
                <c:pt idx="32">
                  <c:v>0.7405619905619907</c:v>
                </c:pt>
                <c:pt idx="33">
                  <c:v>0.8413594959025759</c:v>
                </c:pt>
                <c:pt idx="34">
                  <c:v>1.0456860536074732</c:v>
                </c:pt>
                <c:pt idx="35">
                  <c:v>1.0369590353485298</c:v>
                </c:pt>
                <c:pt idx="36">
                  <c:v>1.2339425708050942</c:v>
                </c:pt>
                <c:pt idx="37">
                  <c:v>1.2498188278747926</c:v>
                </c:pt>
                <c:pt idx="38">
                  <c:v>1.2561534485729053</c:v>
                </c:pt>
                <c:pt idx="39">
                  <c:v>1.2227736008470314</c:v>
                </c:pt>
                <c:pt idx="40">
                  <c:v>0.9598180511423815</c:v>
                </c:pt>
                <c:pt idx="41">
                  <c:v>1.042361447272203</c:v>
                </c:pt>
                <c:pt idx="42">
                  <c:v>1.1028740174768368</c:v>
                </c:pt>
                <c:pt idx="43">
                  <c:v>0.9815146160900002</c:v>
                </c:pt>
                <c:pt idx="44">
                  <c:v>0.8888077929913681</c:v>
                </c:pt>
                <c:pt idx="45">
                  <c:v>0.8817423224279382</c:v>
                </c:pt>
                <c:pt idx="46">
                  <c:v>1.0644944810593162</c:v>
                </c:pt>
                <c:pt idx="47">
                  <c:v>1.15871267347049</c:v>
                </c:pt>
                <c:pt idx="48">
                  <c:v>1.2159586086687921</c:v>
                </c:pt>
                <c:pt idx="49">
                  <c:v>1.0723771918219471</c:v>
                </c:pt>
                <c:pt idx="50">
                  <c:v>1.0144319102277892</c:v>
                </c:pt>
                <c:pt idx="51">
                  <c:v>1.0910036201186166</c:v>
                </c:pt>
                <c:pt idx="52">
                  <c:v>1.1733276973475641</c:v>
                </c:pt>
                <c:pt idx="53">
                  <c:v>1.147957457605616</c:v>
                </c:pt>
                <c:pt idx="54">
                  <c:v>1.3622881851116044</c:v>
                </c:pt>
                <c:pt idx="55">
                  <c:v>0.9559726096880549</c:v>
                </c:pt>
                <c:pt idx="56">
                  <c:v>0.7743564865019119</c:v>
                </c:pt>
                <c:pt idx="57">
                  <c:v>1.0981558316388298</c:v>
                </c:pt>
                <c:pt idx="58">
                  <c:v>1.0414239692818326</c:v>
                </c:pt>
                <c:pt idx="59">
                  <c:v>1.1234395506325792</c:v>
                </c:pt>
                <c:pt idx="60">
                  <c:v>1.023513287791507</c:v>
                </c:pt>
                <c:pt idx="61">
                  <c:v>1.0599936551951028</c:v>
                </c:pt>
                <c:pt idx="62">
                  <c:v>0.9577274659863947</c:v>
                </c:pt>
                <c:pt idx="63">
                  <c:v>1.1903054684161707</c:v>
                </c:pt>
                <c:pt idx="64">
                  <c:v>1.152010102264729</c:v>
                </c:pt>
                <c:pt idx="65">
                  <c:v>0.9336740793878527</c:v>
                </c:pt>
                <c:pt idx="66">
                  <c:v>0.8541735433858464</c:v>
                </c:pt>
                <c:pt idx="67">
                  <c:v>1.1677071682765632</c:v>
                </c:pt>
                <c:pt idx="68">
                  <c:v>1.1263745083875112</c:v>
                </c:pt>
                <c:pt idx="69">
                  <c:v>1.2565148765743612</c:v>
                </c:pt>
                <c:pt idx="70">
                  <c:v>1.2606356582152847</c:v>
                </c:pt>
                <c:pt idx="71">
                  <c:v>1.2924763678532523</c:v>
                </c:pt>
                <c:pt idx="72">
                  <c:v>1.0669965560307308</c:v>
                </c:pt>
                <c:pt idx="73">
                  <c:v>1.1130910691773557</c:v>
                </c:pt>
                <c:pt idx="74">
                  <c:v>0.700325546861614</c:v>
                </c:pt>
                <c:pt idx="75">
                  <c:v>0.8077117327117328</c:v>
                </c:pt>
                <c:pt idx="76">
                  <c:v>1.3595508450011973</c:v>
                </c:pt>
                <c:pt idx="77">
                  <c:v>1.3531462333825701</c:v>
                </c:pt>
                <c:pt idx="78">
                  <c:v>1.1763405657328148</c:v>
                </c:pt>
                <c:pt idx="79">
                  <c:v>0.9339728760320053</c:v>
                </c:pt>
                <c:pt idx="80">
                  <c:v>0.9815176826017415</c:v>
                </c:pt>
                <c:pt idx="81">
                  <c:v>1.0030938083258947</c:v>
                </c:pt>
                <c:pt idx="82">
                  <c:v>1.124588189450565</c:v>
                </c:pt>
                <c:pt idx="83">
                  <c:v>0.920840171382626</c:v>
                </c:pt>
                <c:pt idx="84">
                  <c:v>0.8924700575857765</c:v>
                </c:pt>
                <c:pt idx="85">
                  <c:v>1.0141297434810261</c:v>
                </c:pt>
                <c:pt idx="86">
                  <c:v>1.3334052602555804</c:v>
                </c:pt>
                <c:pt idx="87">
                  <c:v>1.134586810559596</c:v>
                </c:pt>
                <c:pt idx="88">
                  <c:v>1.0124599035503088</c:v>
                </c:pt>
                <c:pt idx="89">
                  <c:v>1.0764142014217533</c:v>
                </c:pt>
                <c:pt idx="90">
                  <c:v>1.3123903664722893</c:v>
                </c:pt>
                <c:pt idx="91">
                  <c:v>1.1324214361290181</c:v>
                </c:pt>
                <c:pt idx="92">
                  <c:v>1.0826120564827817</c:v>
                </c:pt>
                <c:pt idx="93">
                  <c:v>0.9570573002589561</c:v>
                </c:pt>
                <c:pt idx="94">
                  <c:v>1.141026528258362</c:v>
                </c:pt>
                <c:pt idx="95">
                  <c:v>0.8789509350757061</c:v>
                </c:pt>
                <c:pt idx="96">
                  <c:v>0.8638729828214471</c:v>
                </c:pt>
                <c:pt idx="97">
                  <c:v>0.9974280967916259</c:v>
                </c:pt>
                <c:pt idx="98">
                  <c:v>0.8949408110473224</c:v>
                </c:pt>
                <c:pt idx="99">
                  <c:v>1.1764385024255508</c:v>
                </c:pt>
                <c:pt idx="100">
                  <c:v>0.9416453987367343</c:v>
                </c:pt>
                <c:pt idx="101">
                  <c:v>0.9713515730271252</c:v>
                </c:pt>
                <c:pt idx="102">
                  <c:v>0.95941982272361</c:v>
                </c:pt>
                <c:pt idx="103">
                  <c:v>0.9777289279687361</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87707831903810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877078319038107</c:v>
                </c:pt>
                <c:pt idx="1">
                  <c:v>0.87707831903810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888941408700843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8889414087008436</c:v>
                </c:pt>
                <c:pt idx="1">
                  <c:v>0.888941408700843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1311060565158626</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1311060565158626</c:v>
                </c:pt>
                <c:pt idx="1">
                  <c:v>1.1311060565158626</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1122842846931482</c:v>
                </c:pt>
                <c:pt idx="1">
                  <c:v>1.1284694095075678</c:v>
                </c:pt>
                <c:pt idx="2">
                  <c:v>1.322606258195686</c:v>
                </c:pt>
                <c:pt idx="3">
                  <c:v>0.8310899224019882</c:v>
                </c:pt>
                <c:pt idx="4">
                  <c:v>0.8064138304874743</c:v>
                </c:pt>
                <c:pt idx="5">
                  <c:v>1.0917650163116486</c:v>
                </c:pt>
                <c:pt idx="6">
                  <c:v>1.1717877589565011</c:v>
                </c:pt>
                <c:pt idx="7">
                  <c:v>1.0359337911156323</c:v>
                </c:pt>
                <c:pt idx="8">
                  <c:v>1.0755059678256358</c:v>
                </c:pt>
                <c:pt idx="9">
                  <c:v>0.8244058600108518</c:v>
                </c:pt>
                <c:pt idx="10">
                  <c:v>0.8840251302153251</c:v>
                </c:pt>
                <c:pt idx="11">
                  <c:v>1.112509778820852</c:v>
                </c:pt>
                <c:pt idx="12">
                  <c:v>1.031281925544522</c:v>
                </c:pt>
                <c:pt idx="13">
                  <c:v>0.8474956907165724</c:v>
                </c:pt>
                <c:pt idx="14">
                  <c:v>0.8783160789388548</c:v>
                </c:pt>
                <c:pt idx="15">
                  <c:v>1.0297639675022139</c:v>
                </c:pt>
                <c:pt idx="16">
                  <c:v>1.1366225407449086</c:v>
                </c:pt>
                <c:pt idx="17">
                  <c:v>1.0416653904662725</c:v>
                </c:pt>
                <c:pt idx="18">
                  <c:v>1.264088424810789</c:v>
                </c:pt>
                <c:pt idx="19">
                  <c:v>1.2462463901836962</c:v>
                </c:pt>
                <c:pt idx="20">
                  <c:v>1.0197931965815337</c:v>
                </c:pt>
                <c:pt idx="21">
                  <c:v>1.0620016591031085</c:v>
                </c:pt>
                <c:pt idx="22">
                  <c:v>1.0827134867093353</c:v>
                </c:pt>
                <c:pt idx="23">
                  <c:v>1.0267043700775642</c:v>
                </c:pt>
                <c:pt idx="24">
                  <c:v>0.9504837322209259</c:v>
                </c:pt>
                <c:pt idx="25">
                  <c:v>1.0207218055870184</c:v>
                </c:pt>
                <c:pt idx="26">
                  <c:v>1.2087025830877496</c:v>
                </c:pt>
                <c:pt idx="27">
                  <c:v>1.0399975341874634</c:v>
                </c:pt>
                <c:pt idx="28">
                  <c:v>1.0629403380166973</c:v>
                </c:pt>
                <c:pt idx="29">
                  <c:v>0.7883986844918697</c:v>
                </c:pt>
                <c:pt idx="30">
                  <c:v>0.9488697983305916</c:v>
                </c:pt>
                <c:pt idx="31">
                  <c:v>0.8905920483051036</c:v>
                </c:pt>
                <c:pt idx="32">
                  <c:v>0.9026244870117525</c:v>
                </c:pt>
                <c:pt idx="33">
                  <c:v>1.008134091612504</c:v>
                </c:pt>
                <c:pt idx="34">
                  <c:v>1.1170788709141393</c:v>
                </c:pt>
                <c:pt idx="35">
                  <c:v>1.1003900593016986</c:v>
                </c:pt>
                <c:pt idx="36">
                  <c:v>1.0305948305286348</c:v>
                </c:pt>
                <c:pt idx="37">
                  <c:v>0.9515539217105199</c:v>
                </c:pt>
                <c:pt idx="38">
                  <c:v>1.2842713172101305</c:v>
                </c:pt>
                <c:pt idx="39">
                  <c:v>1.1575063425726106</c:v>
                </c:pt>
                <c:pt idx="40">
                  <c:v>1.0064185491093642</c:v>
                </c:pt>
                <c:pt idx="41">
                  <c:v>1.0550249294167118</c:v>
                </c:pt>
                <c:pt idx="42">
                  <c:v>1.0781549062141125</c:v>
                </c:pt>
                <c:pt idx="43">
                  <c:v>1.02215450050974</c:v>
                </c:pt>
                <c:pt idx="44">
                  <c:v>1.0040559469799921</c:v>
                </c:pt>
                <c:pt idx="45">
                  <c:v>1.079228310315151</c:v>
                </c:pt>
                <c:pt idx="46">
                  <c:v>1.0199331675474044</c:v>
                </c:pt>
                <c:pt idx="47">
                  <c:v>1.1820171636615813</c:v>
                </c:pt>
                <c:pt idx="48">
                  <c:v>1.073186674480458</c:v>
                </c:pt>
                <c:pt idx="49">
                  <c:v>1.0812226988697577</c:v>
                </c:pt>
                <c:pt idx="50">
                  <c:v>0.9684912500559458</c:v>
                </c:pt>
                <c:pt idx="51">
                  <c:v>1.057904390425112</c:v>
                </c:pt>
                <c:pt idx="52">
                  <c:v>0.8889414087008436</c:v>
                </c:pt>
                <c:pt idx="53">
                  <c:v>0.877078319038107</c:v>
                </c:pt>
                <c:pt idx="54">
                  <c:v>1.1311060565158626</c:v>
                </c:pt>
              </c:numCache>
            </c:numRef>
          </c:xVal>
          <c:yVal>
            <c:numRef>
              <c:f>Sheet1!$B$186:$B$240</c:f>
              <c:numCache>
                <c:formatCode>General</c:formatCode>
                <c:ptCount val="55"/>
                <c:pt idx="0">
                  <c:v>0.044117323484503035</c:v>
                </c:pt>
                <c:pt idx="1">
                  <c:v>0.041524731951420035</c:v>
                </c:pt>
                <c:pt idx="2">
                  <c:v>0.010427192949446024</c:v>
                </c:pt>
                <c:pt idx="3">
                  <c:v>0.08916004828185753</c:v>
                </c:pt>
                <c:pt idx="4">
                  <c:v>0.09311275347880171</c:v>
                </c:pt>
                <c:pt idx="5">
                  <c:v>0.047404173730077825</c:v>
                </c:pt>
                <c:pt idx="6">
                  <c:v>0.03458584286059391</c:v>
                </c:pt>
                <c:pt idx="7">
                  <c:v>0.056347420284215244</c:v>
                </c:pt>
                <c:pt idx="8">
                  <c:v>0.05000860662288245</c:v>
                </c:pt>
                <c:pt idx="9">
                  <c:v>0.09023072544749916</c:v>
                </c:pt>
                <c:pt idx="10">
                  <c:v>0.08068069621306301</c:v>
                </c:pt>
                <c:pt idx="11">
                  <c:v>0.04408120302371277</c:v>
                </c:pt>
                <c:pt idx="12">
                  <c:v>0.057092572850598655</c:v>
                </c:pt>
                <c:pt idx="13">
                  <c:v>0.0865321132789579</c:v>
                </c:pt>
                <c:pt idx="14">
                  <c:v>0.08159519258989212</c:v>
                </c:pt>
                <c:pt idx="15">
                  <c:v>0.057335724832012935</c:v>
                </c:pt>
                <c:pt idx="16">
                  <c:v>0.040218734051718164</c:v>
                </c:pt>
                <c:pt idx="17">
                  <c:v>0.05542931207572893</c:v>
                </c:pt>
                <c:pt idx="18">
                  <c:v>0.01980079007072877</c:v>
                </c:pt>
                <c:pt idx="19">
                  <c:v>0.02265879137980506</c:v>
                </c:pt>
                <c:pt idx="20">
                  <c:v>0.05893287879675935</c:v>
                </c:pt>
                <c:pt idx="21">
                  <c:v>0.052171775387757885</c:v>
                </c:pt>
                <c:pt idx="22">
                  <c:v>0.04885408031266408</c:v>
                </c:pt>
                <c:pt idx="23">
                  <c:v>0.05782582215710258</c:v>
                </c:pt>
                <c:pt idx="24">
                  <c:v>0.07003511820017375</c:v>
                </c:pt>
                <c:pt idx="25">
                  <c:v>0.058784130864768136</c:v>
                </c:pt>
                <c:pt idx="26">
                  <c:v>0.028672693497503593</c:v>
                </c:pt>
                <c:pt idx="27">
                  <c:v>0.05569647529605748</c:v>
                </c:pt>
                <c:pt idx="28">
                  <c:v>0.052021414421651174</c:v>
                </c:pt>
                <c:pt idx="29">
                  <c:v>0.09599848438980757</c:v>
                </c:pt>
                <c:pt idx="30">
                  <c:v>0.07029364393828288</c:v>
                </c:pt>
                <c:pt idx="31">
                  <c:v>0.07962878364314316</c:v>
                </c:pt>
                <c:pt idx="32">
                  <c:v>0.077701384313766</c:v>
                </c:pt>
                <c:pt idx="33">
                  <c:v>0.06080047618464618</c:v>
                </c:pt>
                <c:pt idx="34">
                  <c:v>0.04334930941085785</c:v>
                </c:pt>
                <c:pt idx="35">
                  <c:v>0.046022583307706866</c:v>
                </c:pt>
                <c:pt idx="36">
                  <c:v>0.05720263420267582</c:v>
                </c:pt>
                <c:pt idx="37">
                  <c:v>0.06986369139677684</c:v>
                </c:pt>
                <c:pt idx="38">
                  <c:v>0.016567821740386346</c:v>
                </c:pt>
                <c:pt idx="39">
                  <c:v>0.036873491526999036</c:v>
                </c:pt>
                <c:pt idx="40">
                  <c:v>0.06107527795598139</c:v>
                </c:pt>
                <c:pt idx="41">
                  <c:v>0.05328933305388392</c:v>
                </c:pt>
                <c:pt idx="42">
                  <c:v>0.04958429013991625</c:v>
                </c:pt>
                <c:pt idx="43">
                  <c:v>0.05855463663665875</c:v>
                </c:pt>
                <c:pt idx="44">
                  <c:v>0.061453728066616115</c:v>
                </c:pt>
                <c:pt idx="45">
                  <c:v>0.049412348408490764</c:v>
                </c:pt>
                <c:pt idx="46">
                  <c:v>0.05891045774377676</c:v>
                </c:pt>
                <c:pt idx="47">
                  <c:v>0.03294726000559842</c:v>
                </c:pt>
                <c:pt idx="48">
                  <c:v>0.05038011937662326</c:v>
                </c:pt>
                <c:pt idx="49">
                  <c:v>0.04909288007323612</c:v>
                </c:pt>
                <c:pt idx="50">
                  <c:v>0.06715060919537941</c:v>
                </c:pt>
                <c:pt idx="51">
                  <c:v>0.05282809062814925</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c:f>
              <c:numCache>
                <c:formatCode>General</c:formatCode>
                <c:ptCount val="0"/>
              </c:numCache>
            </c:numRef>
          </c:xVal>
          <c:yVal>
            <c:numRef>
              <c:f>Sheet1!$B$2:$B$1</c:f>
              <c:numCache>
                <c:formatCode>General</c:formatCode>
                <c:ptCount val="0"/>
              </c:numCache>
            </c:numRef>
          </c:yVal>
          <c:smooth val="0"/>
          <c:extLst>
            <c:ext xmlns:c16="http://schemas.microsoft.com/office/drawing/2014/chart" uri="{C3380CC4-5D6E-409C-BE32-E72D297353CC}">
              <c16:uniqueId val="{00000000-F32D-48B7-BC20-E66FC6253BAD}"/>
            </c:ext>
          </c:extLst>
        </c:ser>
        <c:ser>
          <c:idx val="1"/>
          <c:order val="1"/>
          <c:tx>
            <c:strRef>
              <c:f>Sheet1!$B$3</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4:$A$7</c:f>
              <c:numCache>
                <c:formatCode>General</c:formatCode>
                <c:ptCount val="4"/>
                <c:pt idx="0">
                  <c:v>6.8333</c:v>
                </c:pt>
                <c:pt idx="1">
                  <c:v>13.0</c:v>
                </c:pt>
                <c:pt idx="2">
                  <c:v>13.0</c:v>
                </c:pt>
                <c:pt idx="3">
                  <c:v>13.0</c:v>
                </c:pt>
              </c:numCache>
            </c:numRef>
          </c:xVal>
          <c:yVal>
            <c:numRef>
              <c:f>Sheet1!$B$4:$B$7</c:f>
              <c:numCache>
                <c:formatCode>General</c:formatCode>
                <c:ptCount val="4"/>
                <c:pt idx="0">
                  <c:v>2.8513823858229267e-05</c:v>
                </c:pt>
                <c:pt idx="1">
                  <c:v>6.675155239079029e-06</c:v>
                </c:pt>
                <c:pt idx="2">
                  <c:v>1.8042367086392265e-06</c:v>
                </c:pt>
                <c:pt idx="3">
                  <c:v>7.02302674895313e-06</c:v>
                </c:pt>
              </c:numCache>
            </c:numRef>
          </c:yVal>
          <c:smooth val="0"/>
          <c:extLst>
            <c:ext xmlns:c16="http://schemas.microsoft.com/office/drawing/2014/chart" uri="{C3380CC4-5D6E-409C-BE32-E72D297353CC}">
              <c16:uniqueId val="{00000002-F32D-48B7-BC20-E66FC6253BAD}"/>
            </c:ext>
          </c:extLst>
        </c:ser>
        <c:ser>
          <c:idx val="2"/>
          <c:order val="2"/>
          <c:tx>
            <c:strRef>
              <c:f>Sheet1!$B$9</c:f>
              <c:strCache>
                <c:ptCount val="1"/>
                <c:pt idx="0">
                  <c:v>Custom Linep3yQ</c:v>
                </c:pt>
              </c:strCache>
            </c:strRef>
          </c:tx>
          <c:spPr>
            <a:ln w="19050" cap="rnd">
              <a:solidFill>
                <a:srgbClr val="C00000"/>
              </a:solidFill>
              <a:prstDash val="sysDot"/>
              <a:round/>
            </a:ln>
            <a:effectLst/>
          </c:spPr>
          <c:marker>
            <c:symbol val="none"/>
          </c:marker>
          <c:xVal>
            <c:numRef>
              <c:f>Sheet1!$A$10:$A$11</c:f>
              <c:numCache>
                <c:formatCode>General</c:formatCode>
                <c:ptCount val="2"/>
                <c:pt idx="0">
                  <c:v>0</c:v>
                </c:pt>
                <c:pt idx="1">
                  <c:v>6.8333000000000155</c:v>
                </c:pt>
              </c:numCache>
            </c:numRef>
          </c:xVal>
          <c:yVal>
            <c:numRef>
              <c:f>Sheet1!$B$10:$B$11</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3-F32D-48B7-BC20-E66FC6253BAD}"/>
            </c:ext>
          </c:extLst>
        </c:ser>
        <c:ser>
          <c:idx val="3"/>
          <c:order val="3"/>
          <c:tx>
            <c:strRef>
              <c:f>Sheet1!$B$13</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A$15</c:f>
              <c:numCache>
                <c:formatCode>General</c:formatCode>
                <c:ptCount val="2"/>
                <c:pt idx="0">
                  <c:v>6.8333000000000155</c:v>
                </c:pt>
                <c:pt idx="1">
                  <c:v>6.8333000000000155</c:v>
                </c:pt>
              </c:numCache>
            </c:numRef>
          </c:xVal>
          <c:yVal>
            <c:numRef>
              <c:f>Sheet1!$B$14:$B$15</c:f>
              <c:numCache>
                <c:formatCode>General</c:formatCode>
                <c:ptCount val="2"/>
                <c:pt idx="0">
                  <c:v>2.8513823858229267e-0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7</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8:$A$19</c:f>
              <c:numCache>
                <c:formatCode>General</c:formatCode>
                <c:ptCount val="2"/>
                <c:pt idx="0">
                  <c:v>0</c:v>
                </c:pt>
                <c:pt idx="1">
                  <c:v>6.8333000000000155</c:v>
                </c:pt>
              </c:numCache>
            </c:numRef>
          </c:xVal>
          <c:yVal>
            <c:numRef>
              <c:f>Sheet1!$B$18:$B$19</c:f>
              <c:numCache>
                <c:formatCode>General</c:formatCode>
                <c:ptCount val="2"/>
                <c:pt idx="0">
                  <c:v>2.8513823858229267e-05</c:v>
                </c:pt>
                <c:pt idx="1">
                  <c:v>2.8513823858229267e-05</c:v>
                </c:pt>
              </c:numCache>
            </c:numRef>
          </c:yVal>
          <c:smooth val="0"/>
          <c:extLst>
            <c:ext xmlns:c16="http://schemas.microsoft.com/office/drawing/2014/chart" uri="{C3380CC4-5D6E-409C-BE32-E72D297353CC}">
              <c16:uniqueId val="{0000000A-F32D-48B7-BC20-E66FC6253BAD}"/>
            </c:ext>
          </c:extLst>
        </c:ser>
        <c:ser>
          <c:idx val="5"/>
          <c:order val="5"/>
          <c:tx>
            <c:strRef>
              <c:f>Sheet1!$B$21</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22:$A$23</c:f>
              <c:numCache>
                <c:formatCode>General</c:formatCode>
                <c:ptCount val="2"/>
                <c:pt idx="0">
                  <c:v>6.8333000000000155</c:v>
                </c:pt>
                <c:pt idx="1">
                  <c:v>6.8333000000000155</c:v>
                </c:pt>
              </c:numCache>
            </c:numRef>
          </c:xVal>
          <c:yVal>
            <c:numRef>
              <c:f>Sheet1!$B$22:$B$23</c:f>
              <c:numCache>
                <c:formatCode>General</c:formatCode>
                <c:ptCount val="2"/>
                <c:pt idx="0">
                  <c:v>2.8513823858229267e-0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25</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26:$A$27</c:f>
              <c:numCache>
                <c:formatCode>General</c:formatCode>
                <c:ptCount val="2"/>
                <c:pt idx="0">
                  <c:v>0</c:v>
                </c:pt>
                <c:pt idx="1">
                  <c:v>13.199119440623372</c:v>
                </c:pt>
              </c:numCache>
            </c:numRef>
          </c:xVal>
          <c:yVal>
            <c:numRef>
              <c:f>Sheet1!$B$26:$B$27</c:f>
              <c:numCache>
                <c:formatCode>General</c:formatCode>
                <c:ptCount val="2"/>
                <c:pt idx="0">
                  <c:v>4.413631728796178e-06</c:v>
                </c:pt>
                <c:pt idx="1">
                  <c:v>4.413631728796178e-06</c:v>
                </c:pt>
              </c:numCache>
            </c:numRef>
          </c:yVal>
          <c:smooth val="0"/>
          <c:extLst>
            <c:ext xmlns:c16="http://schemas.microsoft.com/office/drawing/2014/chart" uri="{C3380CC4-5D6E-409C-BE32-E72D297353CC}">
              <c16:uniqueId val="{00000011-F32D-48B7-BC20-E66FC6253BAD}"/>
            </c:ext>
          </c:extLst>
        </c:ser>
        <c:ser>
          <c:idx val="7"/>
          <c:order val="7"/>
          <c:tx>
            <c:strRef>
              <c:f>Sheet1!$B$29</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30:$A$31</c:f>
              <c:numCache>
                <c:formatCode>General</c:formatCode>
                <c:ptCount val="2"/>
                <c:pt idx="0">
                  <c:v>13.199119440623372</c:v>
                </c:pt>
                <c:pt idx="1">
                  <c:v>13.199119440623372</c:v>
                </c:pt>
              </c:numCache>
            </c:numRef>
          </c:xVal>
          <c:yVal>
            <c:numRef>
              <c:f>Sheet1!$B$30:$B$31</c:f>
              <c:numCache>
                <c:formatCode>General</c:formatCode>
                <c:ptCount val="2"/>
                <c:pt idx="0">
                  <c:v>4.413631728796178e-0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33</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34:$A$40</c:f>
              <c:numCache>
                <c:formatCode>General</c:formatCode>
                <c:ptCount val="7"/>
                <c:pt idx="0">
                  <c:v>6.8333</c:v>
                </c:pt>
                <c:pt idx="1">
                  <c:v>13.0</c:v>
                </c:pt>
                <c:pt idx="2">
                  <c:v>13.0</c:v>
                </c:pt>
                <c:pt idx="3">
                  <c:v>13.0</c:v>
                </c:pt>
                <c:pt idx="4">
                  <c:v>6.8333000000000155</c:v>
                </c:pt>
                <c:pt idx="5">
                  <c:v>6.8333000000000155</c:v>
                </c:pt>
                <c:pt idx="6">
                  <c:v>13.199119440623372</c:v>
                </c:pt>
              </c:numCache>
            </c:numRef>
          </c:xVal>
          <c:yVal>
            <c:numRef>
              <c:f>Sheet1!$B$34:$B$40</c:f>
              <c:numCache>
                <c:formatCode>General</c:formatCode>
                <c:ptCount val="7"/>
                <c:pt idx="0">
                  <c:v>2.8513823858229324e-05</c:v>
                </c:pt>
                <c:pt idx="1">
                  <c:v>5.167472898890477e-06</c:v>
                </c:pt>
                <c:pt idx="2">
                  <c:v>5.167472898890477e-06</c:v>
                </c:pt>
                <c:pt idx="3">
                  <c:v>5.167472898890477e-06</c:v>
                </c:pt>
                <c:pt idx="4">
                  <c:v>2.8513823858229267e-05</c:v>
                </c:pt>
                <c:pt idx="5">
                  <c:v>2.8513823858229267e-05</c:v>
                </c:pt>
                <c:pt idx="6">
                  <c:v>4.41363172879618e-06</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6.0"/>
          <c:min val="5.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3.421658862987512e-05"/>
          <c:min val="1.4433893669113814e-06"/>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6440944363525645</c:v>
                </c:pt>
                <c:pt idx="1">
                  <c:v>1.4298251049525197</c:v>
                </c:pt>
                <c:pt idx="2">
                  <c:v>1.3495657522810822</c:v>
                </c:pt>
                <c:pt idx="3">
                  <c:v>1.3562758149347756</c:v>
                </c:pt>
                <c:pt idx="4">
                  <c:v>1.359483115500621</c:v>
                </c:pt>
                <c:pt idx="5">
                  <c:v>1.5546161451961589</c:v>
                </c:pt>
                <c:pt idx="6">
                  <c:v>1.5703534141973847</c:v>
                </c:pt>
                <c:pt idx="7">
                  <c:v>1.3267978118320474</c:v>
                </c:pt>
                <c:pt idx="8">
                  <c:v>1.2975984783587182</c:v>
                </c:pt>
                <c:pt idx="9">
                  <c:v>1.1688855929535389</c:v>
                </c:pt>
                <c:pt idx="10">
                  <c:v>1.3121803644745371</c:v>
                </c:pt>
                <c:pt idx="11">
                  <c:v>1.3043535892073403</c:v>
                </c:pt>
                <c:pt idx="12">
                  <c:v>1.3605933422339584</c:v>
                </c:pt>
                <c:pt idx="13">
                  <c:v>1.3724256510525636</c:v>
                </c:pt>
                <c:pt idx="14">
                  <c:v>1.3314830704745129</c:v>
                </c:pt>
                <c:pt idx="15">
                  <c:v>1.3322373732184531</c:v>
                </c:pt>
                <c:pt idx="16">
                  <c:v>1.310135819384047</c:v>
                </c:pt>
                <c:pt idx="17">
                  <c:v>1.3553239263158685</c:v>
                </c:pt>
                <c:pt idx="18">
                  <c:v>1.3256829394006333</c:v>
                </c:pt>
                <c:pt idx="19">
                  <c:v>1.359737733482542</c:v>
                </c:pt>
                <c:pt idx="20">
                  <c:v>1.459058790159093</c:v>
                </c:pt>
                <c:pt idx="21">
                  <c:v>1.3093980677983776</c:v>
                </c:pt>
                <c:pt idx="22">
                  <c:v>1.3501300804474468</c:v>
                </c:pt>
                <c:pt idx="23">
                  <c:v>1.3699910885555906</c:v>
                </c:pt>
                <c:pt idx="24">
                  <c:v>1.3725877030334495</c:v>
                </c:pt>
                <c:pt idx="25">
                  <c:v>1.4176813169152591</c:v>
                </c:pt>
                <c:pt idx="26">
                  <c:v>1.350111865082588</c:v>
                </c:pt>
                <c:pt idx="27">
                  <c:v>0.9001946086737751</c:v>
                </c:pt>
                <c:pt idx="28">
                  <c:v>0.9338782472188258</c:v>
                </c:pt>
                <c:pt idx="29">
                  <c:v>1.3403641983105121</c:v>
                </c:pt>
                <c:pt idx="30">
                  <c:v>1.3817090719818745</c:v>
                </c:pt>
                <c:pt idx="31">
                  <c:v>1.5097411561691114</c:v>
                </c:pt>
                <c:pt idx="32">
                  <c:v>1.6010565498243443</c:v>
                </c:pt>
                <c:pt idx="33">
                  <c:v>1.3710854304584843</c:v>
                </c:pt>
                <c:pt idx="34">
                  <c:v>1.1467634659699582</c:v>
                </c:pt>
                <c:pt idx="35">
                  <c:v>1.1260947749295631</c:v>
                </c:pt>
                <c:pt idx="36">
                  <c:v>1.3655891697748308</c:v>
                </c:pt>
                <c:pt idx="37">
                  <c:v>1.5842120364392798</c:v>
                </c:pt>
                <c:pt idx="38">
                  <c:v>1.5574967451352968</c:v>
                </c:pt>
                <c:pt idx="39">
                  <c:v>1.3136348780469267</c:v>
                </c:pt>
                <c:pt idx="40">
                  <c:v>1.3076111140641966</c:v>
                </c:pt>
                <c:pt idx="41">
                  <c:v>1.392279476248942</c:v>
                </c:pt>
                <c:pt idx="42">
                  <c:v>1.2721017955770875</c:v>
                </c:pt>
                <c:pt idx="43">
                  <c:v>1.3657486244503478</c:v>
                </c:pt>
                <c:pt idx="44">
                  <c:v>1.340139626381103</c:v>
                </c:pt>
                <c:pt idx="45">
                  <c:v>1.3809204388622887</c:v>
                </c:pt>
                <c:pt idx="46">
                  <c:v>1.3593262448056078</c:v>
                </c:pt>
                <c:pt idx="47">
                  <c:v>1.5867381111855325</c:v>
                </c:pt>
                <c:pt idx="48">
                  <c:v>1.4051079021443118</c:v>
                </c:pt>
                <c:pt idx="49">
                  <c:v>1.3549438501881539</c:v>
                </c:pt>
                <c:pt idx="50">
                  <c:v>1.346626602793953</c:v>
                </c:pt>
                <c:pt idx="51">
                  <c:v>1.3764530883938866</c:v>
                </c:pt>
                <c:pt idx="52">
                  <c:v>1.3016560355408044</c:v>
                </c:pt>
                <c:pt idx="53">
                  <c:v>1.2590942464290482</c:v>
                </c:pt>
                <c:pt idx="54">
                  <c:v>1.4089475150392639</c:v>
                </c:pt>
                <c:pt idx="55">
                  <c:v>1.3553651212187796</c:v>
                </c:pt>
                <c:pt idx="56">
                  <c:v>1.1251771799698513</c:v>
                </c:pt>
                <c:pt idx="57">
                  <c:v>1.1154470811152215</c:v>
                </c:pt>
                <c:pt idx="58">
                  <c:v>1.3846023870601065</c:v>
                </c:pt>
                <c:pt idx="59">
                  <c:v>1.4265780939593098</c:v>
                </c:pt>
                <c:pt idx="60">
                  <c:v>1.458659115209837</c:v>
                </c:pt>
                <c:pt idx="61">
                  <c:v>1.4786087976921949</c:v>
                </c:pt>
                <c:pt idx="62">
                  <c:v>1.4085837307282745</c:v>
                </c:pt>
                <c:pt idx="63">
                  <c:v>1.358107105770657</c:v>
                </c:pt>
                <c:pt idx="64">
                  <c:v>1.317206951805743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68646480782679</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68646480782679</c:v>
                </c:pt>
                <c:pt idx="1">
                  <c:v>1.368646480782679</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68646480782679</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68646480782679</c:v>
                </c:pt>
                <c:pt idx="1">
                  <c:v>1.368646480782679</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866594698681952</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866594698681952</c:v>
                </c:pt>
                <c:pt idx="1">
                  <c:v>1.4866594698681952</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3265816779406814</c:v>
                </c:pt>
                <c:pt idx="1">
                  <c:v>1.3938488916399088</c:v>
                </c:pt>
                <c:pt idx="2">
                  <c:v>1.3678133231799707</c:v>
                </c:pt>
                <c:pt idx="3">
                  <c:v>1.3807844592922542</c:v>
                </c:pt>
                <c:pt idx="4">
                  <c:v>1.3312788337331611</c:v>
                </c:pt>
                <c:pt idx="5">
                  <c:v>1.3796174392034017</c:v>
                </c:pt>
                <c:pt idx="6">
                  <c:v>1.4089349416530625</c:v>
                </c:pt>
                <c:pt idx="7">
                  <c:v>1.615478292638373</c:v>
                </c:pt>
                <c:pt idx="8">
                  <c:v>1.558967815358618</c:v>
                </c:pt>
                <c:pt idx="9">
                  <c:v>1.3088994849195497</c:v>
                </c:pt>
                <c:pt idx="10">
                  <c:v>1.3832222909082585</c:v>
                </c:pt>
                <c:pt idx="11">
                  <c:v>1.422117046167021</c:v>
                </c:pt>
                <c:pt idx="12">
                  <c:v>0.9411634306680935</c:v>
                </c:pt>
                <c:pt idx="13">
                  <c:v>1.0186548771887252</c:v>
                </c:pt>
                <c:pt idx="14">
                  <c:v>1.6172893670041943</c:v>
                </c:pt>
                <c:pt idx="15">
                  <c:v>1.5409729675760677</c:v>
                </c:pt>
                <c:pt idx="16">
                  <c:v>1.3475768202699785</c:v>
                </c:pt>
                <c:pt idx="17">
                  <c:v>1.4563352660958455</c:v>
                </c:pt>
                <c:pt idx="18">
                  <c:v>1.6430705263709577</c:v>
                </c:pt>
                <c:pt idx="19">
                  <c:v>1.588395362922144</c:v>
                </c:pt>
                <c:pt idx="20">
                  <c:v>1.3912001022195164</c:v>
                </c:pt>
                <c:pt idx="21">
                  <c:v>1.4057170145995361</c:v>
                </c:pt>
                <c:pt idx="22">
                  <c:v>1.3797114585693782</c:v>
                </c:pt>
                <c:pt idx="23">
                  <c:v>1.3599083244659083</c:v>
                </c:pt>
                <c:pt idx="24">
                  <c:v>1.4087654055383103</c:v>
                </c:pt>
                <c:pt idx="25">
                  <c:v>1.4093291957278218</c:v>
                </c:pt>
                <c:pt idx="26">
                  <c:v>1.5090152565880721</c:v>
                </c:pt>
                <c:pt idx="27">
                  <c:v>1.5072436939619787</c:v>
                </c:pt>
                <c:pt idx="28">
                  <c:v>1.4637147427144697</c:v>
                </c:pt>
                <c:pt idx="29">
                  <c:v>1.480593958013313</c:v>
                </c:pt>
                <c:pt idx="30">
                  <c:v>1.4665002834288594</c:v>
                </c:pt>
                <c:pt idx="31">
                  <c:v>1.511551583024724</c:v>
                </c:pt>
                <c:pt idx="32">
                  <c:v>1.4358105783127002</c:v>
                </c:pt>
                <c:pt idx="33">
                  <c:v>1.4642275719420217</c:v>
                </c:pt>
                <c:pt idx="34">
                  <c:v>1.4991454203193055</c:v>
                </c:pt>
                <c:pt idx="35">
                  <c:v>1.4981646523258425</c:v>
                </c:pt>
                <c:pt idx="36">
                  <c:v>1.486208363959921</c:v>
                </c:pt>
                <c:pt idx="37">
                  <c:v>1.4832566996423762</c:v>
                </c:pt>
                <c:pt idx="38">
                  <c:v>1.5020868373512741</c:v>
                </c:pt>
                <c:pt idx="39">
                  <c:v>1.41577867642718</c:v>
                </c:pt>
                <c:pt idx="40">
                  <c:v>1.5186966444755068</c:v>
                </c:pt>
                <c:pt idx="41">
                  <c:v>1.5239397224972109</c:v>
                </c:pt>
                <c:pt idx="42">
                  <c:v>1.5572023823915795</c:v>
                </c:pt>
                <c:pt idx="43">
                  <c:v>1.5815201387298368</c:v>
                </c:pt>
                <c:pt idx="44">
                  <c:v>1.566596090805791</c:v>
                </c:pt>
                <c:pt idx="45">
                  <c:v>1.5385528733142395</c:v>
                </c:pt>
                <c:pt idx="46">
                  <c:v>1.5632822125672785</c:v>
                </c:pt>
                <c:pt idx="47">
                  <c:v>1.5555949522136443</c:v>
                </c:pt>
                <c:pt idx="48">
                  <c:v>1.516135384421497</c:v>
                </c:pt>
                <c:pt idx="49">
                  <c:v>1.5098279810239859</c:v>
                </c:pt>
                <c:pt idx="50">
                  <c:v>1.5332494865712514</c:v>
                </c:pt>
                <c:pt idx="51">
                  <c:v>1.492581141338968</c:v>
                </c:pt>
                <c:pt idx="52">
                  <c:v>1.368646480782679</c:v>
                </c:pt>
                <c:pt idx="53">
                  <c:v>1.368646480782679</c:v>
                </c:pt>
                <c:pt idx="54">
                  <c:v>1.4866594698681952</c:v>
                </c:pt>
              </c:numCache>
            </c:numRef>
          </c:xVal>
          <c:yVal>
            <c:numRef>
              <c:f>Sheet1!$B$147:$B$201</c:f>
              <c:numCache>
                <c:formatCode>General</c:formatCode>
                <c:ptCount val="55"/>
                <c:pt idx="0">
                  <c:v>0.010225071667029677</c:v>
                </c:pt>
                <c:pt idx="1">
                  <c:v>0.008012799921964513</c:v>
                </c:pt>
                <c:pt idx="2">
                  <c:v>0.008869052906191985</c:v>
                </c:pt>
                <c:pt idx="3">
                  <c:v>0.008442460568788113</c:v>
                </c:pt>
                <c:pt idx="4">
                  <c:v>0.01007059247173648</c:v>
                </c:pt>
                <c:pt idx="5">
                  <c:v>0.008480841310705506</c:v>
                </c:pt>
                <c:pt idx="6">
                  <c:v>0.007516652685392956</c:v>
                </c:pt>
                <c:pt idx="7">
                  <c:v>0.0007238929680222356</c:v>
                </c:pt>
                <c:pt idx="8">
                  <c:v>0.002582399145268359</c:v>
                </c:pt>
                <c:pt idx="9">
                  <c:v>0.010806600377083676</c:v>
                </c:pt>
                <c:pt idx="10">
                  <c:v>0.008362285611231118</c:v>
                </c:pt>
                <c:pt idx="11">
                  <c:v>0.007083122058018969</c:v>
                </c:pt>
                <c:pt idx="12">
                  <c:v>0.02290063605544255</c:v>
                </c:pt>
                <c:pt idx="13">
                  <c:v>0.020352111622895838</c:v>
                </c:pt>
                <c:pt idx="14">
                  <c:v>0.0006643306875681529</c:v>
                </c:pt>
                <c:pt idx="15">
                  <c:v>0.0031742103875785424</c:v>
                </c:pt>
                <c:pt idx="16">
                  <c:v>0.009534587289805364</c:v>
                </c:pt>
                <c:pt idx="17">
                  <c:v>0.005957759538122685</c:v>
                </c:pt>
                <c:pt idx="18">
                  <c:v>-0.00018355533722148182</c:v>
                </c:pt>
                <c:pt idx="19">
                  <c:v>0.0016145913765024389</c:v>
                </c:pt>
                <c:pt idx="20">
                  <c:v>0.008099912820970001</c:v>
                </c:pt>
                <c:pt idx="21">
                  <c:v>0.007622483278139497</c:v>
                </c:pt>
                <c:pt idx="22">
                  <c:v>0.008477749219099502</c:v>
                </c:pt>
                <c:pt idx="23">
                  <c:v>0.009129031049156126</c:v>
                </c:pt>
                <c:pt idx="24">
                  <c:v>0.007522228357935472</c:v>
                </c:pt>
                <c:pt idx="25">
                  <c:v>0.0075036865299362085</c:v>
                </c:pt>
                <c:pt idx="26">
                  <c:v>0.004225229705426596</c:v>
                </c:pt>
                <c:pt idx="27">
                  <c:v>0.004283492531055796</c:v>
                </c:pt>
                <c:pt idx="28">
                  <c:v>0.005715064669122354</c:v>
                </c:pt>
                <c:pt idx="29">
                  <c:v>0.005159944142628312</c:v>
                </c:pt>
                <c:pt idx="30">
                  <c:v>0.005623454318725997</c:v>
                </c:pt>
                <c:pt idx="31">
                  <c:v>0.00414181546833399</c:v>
                </c:pt>
                <c:pt idx="32">
                  <c:v>0.006632771692810131</c:v>
                </c:pt>
                <c:pt idx="33">
                  <c:v>0.005698198835861749</c:v>
                </c:pt>
                <c:pt idx="34">
                  <c:v>0.004549827064304013</c:v>
                </c:pt>
                <c:pt idx="35">
                  <c:v>0.004582082381583898</c:v>
                </c:pt>
                <c:pt idx="36">
                  <c:v>0.0049752985930661825</c:v>
                </c:pt>
                <c:pt idx="37">
                  <c:v>0.005072372385951651</c:v>
                </c:pt>
                <c:pt idx="38">
                  <c:v>0.004453090282260777</c:v>
                </c:pt>
                <c:pt idx="39">
                  <c:v>0.007291577195583071</c:v>
                </c:pt>
                <c:pt idx="40">
                  <c:v>0.003906830002234581</c:v>
                </c:pt>
                <c:pt idx="41">
                  <c:v>0.0037343966171318257</c:v>
                </c:pt>
                <c:pt idx="42">
                  <c:v>0.0026404603797985857</c:v>
                </c:pt>
                <c:pt idx="43">
                  <c:v>0.0018407024845028055</c:v>
                </c:pt>
                <c:pt idx="44">
                  <c:v>0.002331521826180752</c:v>
                </c:pt>
                <c:pt idx="45">
                  <c:v>0.0032538020022955735</c:v>
                </c:pt>
                <c:pt idx="46">
                  <c:v>0.002440508043841376</c:v>
                </c:pt>
                <c:pt idx="47">
                  <c:v>0.0026933252476777775</c:v>
                </c:pt>
                <c:pt idx="48">
                  <c:v>0.00399106425154637</c:v>
                </c:pt>
                <c:pt idx="49">
                  <c:v>0.004198500973742615</c:v>
                </c:pt>
                <c:pt idx="50">
                  <c:v>0.003428218809525402</c:v>
                </c:pt>
                <c:pt idx="51">
                  <c:v>0.004765711863395854</c:v>
                </c:pt>
                <c:pt idx="52">
                  <c:v>0.008841652172278745</c:v>
                </c:pt>
                <c:pt idx="53">
                  <c:v>0.008841652172278745</c:v>
                </c:pt>
                <c:pt idx="54">
                  <c:v>0.004960462704971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St More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2.723334650982103</c:v>
                </c:pt>
                <c:pt idx="1">
                  <c:v>2.173184686381616</c:v>
                </c:pt>
                <c:pt idx="2">
                  <c:v>2.2180045733541944</c:v>
                </c:pt>
                <c:pt idx="3">
                  <c:v>2.4193125198770273</c:v>
                </c:pt>
                <c:pt idx="4">
                  <c:v>2.2837344460174354</c:v>
                </c:pt>
                <c:pt idx="5">
                  <c:v>2.5024413272187753</c:v>
                </c:pt>
                <c:pt idx="6">
                  <c:v>2.5269946989261927</c:v>
                </c:pt>
                <c:pt idx="7">
                  <c:v>2.418293230501044</c:v>
                </c:pt>
                <c:pt idx="8">
                  <c:v>2.235662734993558</c:v>
                </c:pt>
                <c:pt idx="9">
                  <c:v>2.2565775256618044</c:v>
                </c:pt>
                <c:pt idx="10">
                  <c:v>2.3857043701462826</c:v>
                </c:pt>
                <c:pt idx="11">
                  <c:v>2.2076177181743395</c:v>
                </c:pt>
                <c:pt idx="12">
                  <c:v>2.4355581963425097</c:v>
                </c:pt>
                <c:pt idx="13">
                  <c:v>2.3476444560124934</c:v>
                </c:pt>
                <c:pt idx="14">
                  <c:v>2.2286095577020846</c:v>
                </c:pt>
                <c:pt idx="15">
                  <c:v>2.3448685655234773</c:v>
                </c:pt>
                <c:pt idx="16">
                  <c:v>2.2852207343524737</c:v>
                </c:pt>
                <c:pt idx="17">
                  <c:v>2.2847756734859224</c:v>
                </c:pt>
                <c:pt idx="18">
                  <c:v>2.382503175947491</c:v>
                </c:pt>
                <c:pt idx="19">
                  <c:v>2.4248613752645256</c:v>
                </c:pt>
                <c:pt idx="20">
                  <c:v>2.107119191335044</c:v>
                </c:pt>
                <c:pt idx="21">
                  <c:v>2.1267936216033103</c:v>
                </c:pt>
                <c:pt idx="22">
                  <c:v>2.248598364237997</c:v>
                </c:pt>
                <c:pt idx="23">
                  <c:v>2.3385198458226446</c:v>
                </c:pt>
                <c:pt idx="24">
                  <c:v>2.3952422861876164</c:v>
                </c:pt>
                <c:pt idx="25">
                  <c:v>2.3689783495530516</c:v>
                </c:pt>
                <c:pt idx="26">
                  <c:v>2.322987600365891</c:v>
                </c:pt>
                <c:pt idx="27">
                  <c:v>1.598263200073571</c:v>
                </c:pt>
                <c:pt idx="28">
                  <c:v>1.5238546798029557</c:v>
                </c:pt>
                <c:pt idx="29">
                  <c:v>2.288612059013815</c:v>
                </c:pt>
                <c:pt idx="30">
                  <c:v>2.368581963233654</c:v>
                </c:pt>
                <c:pt idx="31">
                  <c:v>2.1255952380952383</c:v>
                </c:pt>
                <c:pt idx="32">
                  <c:v>2.3018749686669673</c:v>
                </c:pt>
                <c:pt idx="33">
                  <c:v>2.2862967331658033</c:v>
                </c:pt>
                <c:pt idx="34">
                  <c:v>1.9669261986278734</c:v>
                </c:pt>
                <c:pt idx="35">
                  <c:v>2.055836146628034</c:v>
                </c:pt>
                <c:pt idx="36">
                  <c:v>2.3603406422858053</c:v>
                </c:pt>
                <c:pt idx="37">
                  <c:v>2.351178357086776</c:v>
                </c:pt>
                <c:pt idx="38">
                  <c:v>2.1443191589860353</c:v>
                </c:pt>
                <c:pt idx="39">
                  <c:v>2.29112480943859</c:v>
                </c:pt>
                <c:pt idx="40">
                  <c:v>2.138972734612757</c:v>
                </c:pt>
                <c:pt idx="41">
                  <c:v>2.430553151833855</c:v>
                </c:pt>
                <c:pt idx="42">
                  <c:v>2.2433190514790082</c:v>
                </c:pt>
                <c:pt idx="43">
                  <c:v>2.313614626203572</c:v>
                </c:pt>
                <c:pt idx="44">
                  <c:v>2.220750254292332</c:v>
                </c:pt>
                <c:pt idx="45">
                  <c:v>2.306970992838374</c:v>
                </c:pt>
                <c:pt idx="46">
                  <c:v>2.502593283328115</c:v>
                </c:pt>
                <c:pt idx="47">
                  <c:v>2.345931671893052</c:v>
                </c:pt>
                <c:pt idx="48">
                  <c:v>2.2423124680447004</c:v>
                </c:pt>
                <c:pt idx="49">
                  <c:v>2.369541279649709</c:v>
                </c:pt>
                <c:pt idx="50">
                  <c:v>2.4302927548986615</c:v>
                </c:pt>
                <c:pt idx="51">
                  <c:v>2.2139798066800656</c:v>
                </c:pt>
                <c:pt idx="52">
                  <c:v>1.9474344385248021</c:v>
                </c:pt>
                <c:pt idx="53">
                  <c:v>1.961780955476113</c:v>
                </c:pt>
                <c:pt idx="54">
                  <c:v>2.3950520899992322</c:v>
                </c:pt>
                <c:pt idx="55">
                  <c:v>2.444329964995707</c:v>
                </c:pt>
                <c:pt idx="56">
                  <c:v>2.0032579813867786</c:v>
                </c:pt>
                <c:pt idx="57">
                  <c:v>1.9431527932412078</c:v>
                </c:pt>
                <c:pt idx="58">
                  <c:v>2.1972527941301934</c:v>
                </c:pt>
                <c:pt idx="59">
                  <c:v>2.4300656741971296</c:v>
                </c:pt>
                <c:pt idx="60">
                  <c:v>2.2002570467346243</c:v>
                </c:pt>
                <c:pt idx="61">
                  <c:v>2.244341092942137</c:v>
                </c:pt>
                <c:pt idx="62">
                  <c:v>2.277501216453943</c:v>
                </c:pt>
                <c:pt idx="63">
                  <c:v>2.421060982704818</c:v>
                </c:pt>
                <c:pt idx="64">
                  <c:v>2.1916249022648913</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2.210937839844405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2.2109378398444055</c:v>
                </c:pt>
                <c:pt idx="1">
                  <c:v>2.210937839844405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2.210937839844405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2.2109378398444055</c:v>
                </c:pt>
                <c:pt idx="1">
                  <c:v>2.210937839844405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2.363997849810843</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2.363997849810843</c:v>
                </c:pt>
                <c:pt idx="1">
                  <c:v>2.363997849810843</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2.0809386628255915</c:v>
                </c:pt>
                <c:pt idx="1">
                  <c:v>2.3808944808627617</c:v>
                </c:pt>
                <c:pt idx="2">
                  <c:v>2.079185466915499</c:v>
                </c:pt>
                <c:pt idx="3">
                  <c:v>2.183347803225767</c:v>
                </c:pt>
                <c:pt idx="4">
                  <c:v>2.351648781505483</c:v>
                </c:pt>
                <c:pt idx="5">
                  <c:v>2.253918611550633</c:v>
                </c:pt>
                <c:pt idx="6">
                  <c:v>2.373766442132607</c:v>
                </c:pt>
                <c:pt idx="7">
                  <c:v>2.367118294097404</c:v>
                </c:pt>
                <c:pt idx="8">
                  <c:v>2.2676197642337597</c:v>
                </c:pt>
                <c:pt idx="9">
                  <c:v>2.199833293641343</c:v>
                </c:pt>
                <c:pt idx="10">
                  <c:v>2.2638646015488386</c:v>
                </c:pt>
                <c:pt idx="11">
                  <c:v>2.386238838140203</c:v>
                </c:pt>
                <c:pt idx="12">
                  <c:v>1.583371913580247</c:v>
                </c:pt>
                <c:pt idx="13">
                  <c:v>1.6461282060708553</c:v>
                </c:pt>
                <c:pt idx="14">
                  <c:v>2.2522881407710638</c:v>
                </c:pt>
                <c:pt idx="15">
                  <c:v>2.2012408186550667</c:v>
                </c:pt>
                <c:pt idx="16">
                  <c:v>2.3225156554768507</c:v>
                </c:pt>
                <c:pt idx="17">
                  <c:v>2.297935067308278</c:v>
                </c:pt>
                <c:pt idx="18">
                  <c:v>2.393063877969034</c:v>
                </c:pt>
                <c:pt idx="19">
                  <c:v>2.4134015941935067</c:v>
                </c:pt>
                <c:pt idx="20">
                  <c:v>2.4043932347821566</c:v>
                </c:pt>
                <c:pt idx="21">
                  <c:v>2.321980842672009</c:v>
                </c:pt>
                <c:pt idx="22">
                  <c:v>2.259245516388373</c:v>
                </c:pt>
                <c:pt idx="23">
                  <c:v>2.329263318888606</c:v>
                </c:pt>
                <c:pt idx="24">
                  <c:v>2.2199513264157114</c:v>
                </c:pt>
                <c:pt idx="25">
                  <c:v>2.4614038780288876</c:v>
                </c:pt>
                <c:pt idx="26">
                  <c:v>2.388289236124641</c:v>
                </c:pt>
                <c:pt idx="27">
                  <c:v>2.537314039508983</c:v>
                </c:pt>
                <c:pt idx="28">
                  <c:v>2.4367677240017662</c:v>
                </c:pt>
                <c:pt idx="29">
                  <c:v>2.5635101406183938</c:v>
                </c:pt>
                <c:pt idx="30">
                  <c:v>2.4836528974105976</c:v>
                </c:pt>
                <c:pt idx="31">
                  <c:v>2.4021274403750064</c:v>
                </c:pt>
                <c:pt idx="32">
                  <c:v>2.299424442811658</c:v>
                </c:pt>
                <c:pt idx="33">
                  <c:v>2.180376633719024</c:v>
                </c:pt>
                <c:pt idx="34">
                  <c:v>2.237062632958405</c:v>
                </c:pt>
                <c:pt idx="35">
                  <c:v>2.385728689392876</c:v>
                </c:pt>
                <c:pt idx="36">
                  <c:v>2.4061756231992986</c:v>
                </c:pt>
                <c:pt idx="37">
                  <c:v>2.3497326727816747</c:v>
                </c:pt>
                <c:pt idx="38">
                  <c:v>2.389791873141725</c:v>
                </c:pt>
                <c:pt idx="39">
                  <c:v>2.338297846408853</c:v>
                </c:pt>
                <c:pt idx="40">
                  <c:v>2.3897801692535197</c:v>
                </c:pt>
                <c:pt idx="41">
                  <c:v>2.372532230838858</c:v>
                </c:pt>
                <c:pt idx="42">
                  <c:v>2.3632016047163003</c:v>
                </c:pt>
                <c:pt idx="43">
                  <c:v>2.336511619475764</c:v>
                </c:pt>
                <c:pt idx="44">
                  <c:v>2.386572517372786</c:v>
                </c:pt>
                <c:pt idx="45">
                  <c:v>2.401733271550051</c:v>
                </c:pt>
                <c:pt idx="46">
                  <c:v>2.4741055278315867</c:v>
                </c:pt>
                <c:pt idx="47">
                  <c:v>2.534464196623165</c:v>
                </c:pt>
                <c:pt idx="48">
                  <c:v>2.448158323158323</c:v>
                </c:pt>
                <c:pt idx="49">
                  <c:v>2.453410548507131</c:v>
                </c:pt>
                <c:pt idx="50">
                  <c:v>2.443559231725573</c:v>
                </c:pt>
                <c:pt idx="51">
                  <c:v>2.3740763622883976</c:v>
                </c:pt>
                <c:pt idx="52">
                  <c:v>2.2109378398444055</c:v>
                </c:pt>
                <c:pt idx="53">
                  <c:v>2.2109378398444055</c:v>
                </c:pt>
                <c:pt idx="54">
                  <c:v>2.363997849810843</c:v>
                </c:pt>
              </c:numCache>
            </c:numRef>
          </c:xVal>
          <c:yVal>
            <c:numRef>
              <c:f>Sheet1!$B$147:$B$201</c:f>
              <c:numCache>
                <c:formatCode>General</c:formatCode>
                <c:ptCount val="55"/>
                <c:pt idx="0">
                  <c:v>0.012138081048212526</c:v>
                </c:pt>
                <c:pt idx="1">
                  <c:v>0.00453200966563011</c:v>
                </c:pt>
                <c:pt idx="2">
                  <c:v>0.012182537372904194</c:v>
                </c:pt>
                <c:pt idx="3">
                  <c:v>0.009541261165838665</c:v>
                </c:pt>
                <c:pt idx="4">
                  <c:v>0.005273601805434652</c:v>
                </c:pt>
                <c:pt idx="5">
                  <c:v>0.007751775603738464</c:v>
                </c:pt>
                <c:pt idx="6">
                  <c:v>0.004712757522945053</c:v>
                </c:pt>
                <c:pt idx="7">
                  <c:v>0.004881336645192524</c:v>
                </c:pt>
                <c:pt idx="8">
                  <c:v>0.0074043512863391295</c:v>
                </c:pt>
                <c:pt idx="9">
                  <c:v>0.009123233545310187</c:v>
                </c:pt>
                <c:pt idx="10">
                  <c:v>0.0074995720945955635</c:v>
                </c:pt>
                <c:pt idx="11">
                  <c:v>0.004396491164231325</c:v>
                </c:pt>
                <c:pt idx="12">
                  <c:v>0.02475503322845196</c:v>
                </c:pt>
                <c:pt idx="13">
                  <c:v>0.023163702733470078</c:v>
                </c:pt>
                <c:pt idx="14">
                  <c:v>0.007793119949775051</c:v>
                </c:pt>
                <c:pt idx="15">
                  <c:v>0.0090875425032187</c:v>
                </c:pt>
                <c:pt idx="16">
                  <c:v>0.0060123393889279855</c:v>
                </c:pt>
                <c:pt idx="17">
                  <c:v>0.006635636878069728</c:v>
                </c:pt>
                <c:pt idx="18">
                  <c:v>0.004223426542692213</c:v>
                </c:pt>
                <c:pt idx="19">
                  <c:v>0.0037077168545978367</c:v>
                </c:pt>
                <c:pt idx="20">
                  <c:v>0.003936144578290786</c:v>
                </c:pt>
                <c:pt idx="21">
                  <c:v>0.00602590080072711</c:v>
                </c:pt>
                <c:pt idx="22">
                  <c:v>0.007616699649188874</c:v>
                </c:pt>
                <c:pt idx="23">
                  <c:v>0.005841236824852734</c:v>
                </c:pt>
                <c:pt idx="24">
                  <c:v>0.008613094437623287</c:v>
                </c:pt>
                <c:pt idx="25">
                  <c:v>0.0024905082677864065</c:v>
                </c:pt>
                <c:pt idx="26">
                  <c:v>0.004344498595677759</c:v>
                </c:pt>
                <c:pt idx="27">
                  <c:v>0.0005656310953442434</c:v>
                </c:pt>
                <c:pt idx="28">
                  <c:v>0.003115214757391356</c:v>
                </c:pt>
                <c:pt idx="29">
                  <c:v>-9.863144934436907e-05</c:v>
                </c:pt>
                <c:pt idx="30">
                  <c:v>0.0019263330811968432</c:v>
                </c:pt>
                <c:pt idx="31">
                  <c:v>0.003993599019787582</c:v>
                </c:pt>
                <c:pt idx="32">
                  <c:v>0.006597870328088104</c:v>
                </c:pt>
                <c:pt idx="33">
                  <c:v>0.009616602019388104</c:v>
                </c:pt>
                <c:pt idx="34">
                  <c:v>0.00817919780623056</c:v>
                </c:pt>
                <c:pt idx="35">
                  <c:v>0.00440942716198358</c:v>
                </c:pt>
                <c:pt idx="36">
                  <c:v>0.0038909480102729266</c:v>
                </c:pt>
                <c:pt idx="37">
                  <c:v>0.005322189160150564</c:v>
                </c:pt>
                <c:pt idx="38">
                  <c:v>0.004306395769438746</c:v>
                </c:pt>
                <c:pt idx="39">
                  <c:v>0.005612145548422182</c:v>
                </c:pt>
                <c:pt idx="40">
                  <c:v>0.004306692548510169</c:v>
                </c:pt>
                <c:pt idx="41">
                  <c:v>0.004744053796052451</c:v>
                </c:pt>
                <c:pt idx="42">
                  <c:v>0.004980653335267142</c:v>
                </c:pt>
                <c:pt idx="43">
                  <c:v>0.005657439450862459</c:v>
                </c:pt>
                <c:pt idx="44">
                  <c:v>0.004388029957915943</c:v>
                </c:pt>
                <c:pt idx="45">
                  <c:v>0.0040035940791900565</c:v>
                </c:pt>
                <c:pt idx="46">
                  <c:v>0.002168428650501167</c:v>
                </c:pt>
                <c:pt idx="47">
                  <c:v>0.0006378954326740488</c:v>
                </c:pt>
                <c:pt idx="48">
                  <c:v>0.002826379852164017</c:v>
                </c:pt>
                <c:pt idx="49">
                  <c:v>0.002693197568246819</c:v>
                </c:pt>
                <c:pt idx="50">
                  <c:v>0.0029430004196910192</c:v>
                </c:pt>
                <c:pt idx="51">
                  <c:v>0.004704898782803682</c:v>
                </c:pt>
                <c:pt idx="52">
                  <c:v>0.008841652172278745</c:v>
                </c:pt>
                <c:pt idx="53">
                  <c:v>0.008841652172278745</c:v>
                </c:pt>
                <c:pt idx="54">
                  <c:v>0.00496046270497114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3.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4737944719429341</c:v>
                </c:pt>
                <c:pt idx="1">
                  <c:v>1.3662058348998656</c:v>
                </c:pt>
                <c:pt idx="2">
                  <c:v>1.3586193677754188</c:v>
                </c:pt>
                <c:pt idx="3">
                  <c:v>1.2772472558608097</c:v>
                </c:pt>
                <c:pt idx="4">
                  <c:v>1.3407405787274993</c:v>
                </c:pt>
                <c:pt idx="5">
                  <c:v>1.3135496021069923</c:v>
                </c:pt>
                <c:pt idx="6">
                  <c:v>1.3886805700797753</c:v>
                </c:pt>
                <c:pt idx="7">
                  <c:v>1.3488759244526947</c:v>
                </c:pt>
                <c:pt idx="8">
                  <c:v>1.3007051529286768</c:v>
                </c:pt>
                <c:pt idx="9">
                  <c:v>1.611949946453897</c:v>
                </c:pt>
                <c:pt idx="10">
                  <c:v>1.404873910696383</c:v>
                </c:pt>
                <c:pt idx="11">
                  <c:v>1.3434004050087598</c:v>
                </c:pt>
                <c:pt idx="12">
                  <c:v>1.4197737068965515</c:v>
                </c:pt>
                <c:pt idx="13">
                  <c:v>1.2733413802596194</c:v>
                </c:pt>
                <c:pt idx="14">
                  <c:v>1.347713804791441</c:v>
                </c:pt>
                <c:pt idx="15">
                  <c:v>1.3859638407036403</c:v>
                </c:pt>
                <c:pt idx="16">
                  <c:v>1.3130102535783048</c:v>
                </c:pt>
                <c:pt idx="17">
                  <c:v>1.300112377357403</c:v>
                </c:pt>
                <c:pt idx="18">
                  <c:v>1.362532825779305</c:v>
                </c:pt>
                <c:pt idx="19">
                  <c:v>1.7290795178881824</c:v>
                </c:pt>
                <c:pt idx="20">
                  <c:v>1.336938906555773</c:v>
                </c:pt>
                <c:pt idx="21">
                  <c:v>1.3617898145422433</c:v>
                </c:pt>
                <c:pt idx="22">
                  <c:v>1.3722814076478747</c:v>
                </c:pt>
                <c:pt idx="23">
                  <c:v>1.372987701040681</c:v>
                </c:pt>
                <c:pt idx="24">
                  <c:v>1.4105317713771788</c:v>
                </c:pt>
                <c:pt idx="25">
                  <c:v>1.3504920901071662</c:v>
                </c:pt>
                <c:pt idx="26">
                  <c:v>1.3617758116048888</c:v>
                </c:pt>
                <c:pt idx="27">
                  <c:v>0.9028535381646814</c:v>
                </c:pt>
                <c:pt idx="28">
                  <c:v>0.9328644019239757</c:v>
                </c:pt>
                <c:pt idx="29">
                  <c:v>1.7420217645298033</c:v>
                </c:pt>
                <c:pt idx="30">
                  <c:v>1.4123354014912646</c:v>
                </c:pt>
                <c:pt idx="31">
                  <c:v>1.34826361331782</c:v>
                </c:pt>
                <c:pt idx="32">
                  <c:v>1.4303114316197714</c:v>
                </c:pt>
                <c:pt idx="33">
                  <c:v>1.3406157200315754</c:v>
                </c:pt>
                <c:pt idx="34">
                  <c:v>1.1382367565500096</c:v>
                </c:pt>
                <c:pt idx="35">
                  <c:v>1.1568700777095502</c:v>
                </c:pt>
                <c:pt idx="36">
                  <c:v>1.402640706290399</c:v>
                </c:pt>
                <c:pt idx="37">
                  <c:v>1.3796646962822985</c:v>
                </c:pt>
                <c:pt idx="38">
                  <c:v>1.5659134126387475</c:v>
                </c:pt>
                <c:pt idx="39">
                  <c:v>1.4107962059001191</c:v>
                </c:pt>
                <c:pt idx="40">
                  <c:v>1.2376414104388576</c:v>
                </c:pt>
                <c:pt idx="41">
                  <c:v>1.3759835398390161</c:v>
                </c:pt>
                <c:pt idx="42">
                  <c:v>1.3121679184791608</c:v>
                </c:pt>
                <c:pt idx="43">
                  <c:v>1.372187454850999</c:v>
                </c:pt>
                <c:pt idx="44">
                  <c:v>1.3538262695086327</c:v>
                </c:pt>
                <c:pt idx="45">
                  <c:v>1.3799522305262346</c:v>
                </c:pt>
                <c:pt idx="46">
                  <c:v>1.2691962498101432</c:v>
                </c:pt>
                <c:pt idx="47">
                  <c:v>1.3680765842137605</c:v>
                </c:pt>
                <c:pt idx="48">
                  <c:v>1.5150894509561996</c:v>
                </c:pt>
                <c:pt idx="49">
                  <c:v>1.4361470756813204</c:v>
                </c:pt>
                <c:pt idx="50">
                  <c:v>1.368162973865019</c:v>
                </c:pt>
                <c:pt idx="51">
                  <c:v>1.3680183909405401</c:v>
                </c:pt>
                <c:pt idx="52">
                  <c:v>1.0915739499148336</c:v>
                </c:pt>
                <c:pt idx="53">
                  <c:v>1.0852540361727374</c:v>
                </c:pt>
                <c:pt idx="54">
                  <c:v>1.2654260462663052</c:v>
                </c:pt>
                <c:pt idx="55">
                  <c:v>1.3932448915056692</c:v>
                </c:pt>
                <c:pt idx="56">
                  <c:v>1.10367302500423</c:v>
                </c:pt>
                <c:pt idx="57">
                  <c:v>1.0846042492213661</c:v>
                </c:pt>
                <c:pt idx="58">
                  <c:v>1.4046359421870738</c:v>
                </c:pt>
                <c:pt idx="59">
                  <c:v>1.4540950673507118</c:v>
                </c:pt>
                <c:pt idx="60">
                  <c:v>1.4345840076897165</c:v>
                </c:pt>
                <c:pt idx="61">
                  <c:v>1.38040534372052</c:v>
                </c:pt>
                <c:pt idx="62">
                  <c:v>1.484061364356967</c:v>
                </c:pt>
                <c:pt idx="63">
                  <c:v>1.521358005201366</c:v>
                </c:pt>
                <c:pt idx="64">
                  <c:v>1.359616409163559</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096C-4121-9522-6AB7243CCAAE}"/>
            </c:ext>
          </c:extLst>
        </c:ser>
        <c:ser>
          <c:idx val="1"/>
          <c:order val="1"/>
          <c:tx>
            <c:strRef>
              <c:f>Sheet1!$B$68</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69:$A$120</c:f>
              <c:numCache>
                <c:formatCode>General</c:formatCode>
                <c:ptCount val="52"/>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096C-4121-9522-6AB7243CCAAE}"/>
            </c:ext>
          </c:extLst>
        </c:ser>
        <c:ser>
          <c:idx val="2"/>
          <c:order val="2"/>
          <c:tx>
            <c:strRef>
              <c:f>Sheet1!$B$122</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23:$A$124</c:f>
              <c:numCache>
                <c:formatCode>General</c:formatCode>
                <c:ptCount val="2"/>
                <c:pt idx="0">
                  <c:v>0</c:v>
                </c:pt>
                <c:pt idx="1">
                  <c:v>1.379505398060526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5-096C-4121-9522-6AB7243CCAAE}"/>
            </c:ext>
          </c:extLst>
        </c:ser>
        <c:ser>
          <c:idx val="3"/>
          <c:order val="3"/>
          <c:tx>
            <c:strRef>
              <c:f>Sheet1!$B$126</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27:$A$128</c:f>
              <c:numCache>
                <c:formatCode>General</c:formatCode>
                <c:ptCount val="2"/>
                <c:pt idx="0">
                  <c:v>1.3795053980605265</c:v>
                </c:pt>
                <c:pt idx="1">
                  <c:v>1.379505398060526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30</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31:$A$132</c:f>
              <c:numCache>
                <c:formatCode>General</c:formatCode>
                <c:ptCount val="2"/>
                <c:pt idx="0">
                  <c:v>0</c:v>
                </c:pt>
                <c:pt idx="1">
                  <c:v>1.379505398060526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D-096C-4121-9522-6AB7243CCAAE}"/>
            </c:ext>
          </c:extLst>
        </c:ser>
        <c:ser>
          <c:idx val="5"/>
          <c:order val="5"/>
          <c:tx>
            <c:strRef>
              <c:f>Sheet1!$B$134</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35:$A$136</c:f>
              <c:numCache>
                <c:formatCode>General</c:formatCode>
                <c:ptCount val="2"/>
                <c:pt idx="0">
                  <c:v>1.3795053980605265</c:v>
                </c:pt>
                <c:pt idx="1">
                  <c:v>1.379505398060526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38</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39:$A$140</c:f>
              <c:numCache>
                <c:formatCode>General</c:formatCode>
                <c:ptCount val="2"/>
                <c:pt idx="0">
                  <c:v>0</c:v>
                </c:pt>
                <c:pt idx="1">
                  <c:v>1.468717373834913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5-096C-4121-9522-6AB7243CCAAE}"/>
            </c:ext>
          </c:extLst>
        </c:ser>
        <c:ser>
          <c:idx val="7"/>
          <c:order val="7"/>
          <c:tx>
            <c:strRef>
              <c:f>Sheet1!$B$142</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43:$A$144</c:f>
              <c:numCache>
                <c:formatCode>General</c:formatCode>
                <c:ptCount val="2"/>
                <c:pt idx="0">
                  <c:v>1.4687173738349135</c:v>
                </c:pt>
                <c:pt idx="1">
                  <c:v>1.468717373834913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46</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47:$A$201</c:f>
              <c:numCache>
                <c:formatCode>General</c:formatCode>
                <c:ptCount val="55"/>
                <c:pt idx="0">
                  <c:v>1.4211013836972919</c:v>
                </c:pt>
                <c:pt idx="1">
                  <c:v>1.3517115116226721</c:v>
                </c:pt>
                <c:pt idx="2">
                  <c:v>1.4570165709272103</c:v>
                </c:pt>
                <c:pt idx="3">
                  <c:v>1.4036996564492417</c:v>
                </c:pt>
                <c:pt idx="4">
                  <c:v>1.4727545912576248</c:v>
                </c:pt>
                <c:pt idx="5">
                  <c:v>1.467445192029102</c:v>
                </c:pt>
                <c:pt idx="6">
                  <c:v>1.4603344953194157</c:v>
                </c:pt>
                <c:pt idx="7">
                  <c:v>1.4397782773858439</c:v>
                </c:pt>
                <c:pt idx="8">
                  <c:v>1.4340550400507575</c:v>
                </c:pt>
                <c:pt idx="9">
                  <c:v>1.445702614506953</c:v>
                </c:pt>
                <c:pt idx="10">
                  <c:v>1.4566840535913779</c:v>
                </c:pt>
                <c:pt idx="11">
                  <c:v>1.413417330972483</c:v>
                </c:pt>
                <c:pt idx="12">
                  <c:v>0.9705423301276999</c:v>
                </c:pt>
                <c:pt idx="13">
                  <c:v>1.0475956514279476</c:v>
                </c:pt>
                <c:pt idx="14">
                  <c:v>1.460333557818009</c:v>
                </c:pt>
                <c:pt idx="15">
                  <c:v>1.5201792617763663</c:v>
                </c:pt>
                <c:pt idx="16">
                  <c:v>1.3903194088094764</c:v>
                </c:pt>
                <c:pt idx="17">
                  <c:v>1.473352860769381</c:v>
                </c:pt>
                <c:pt idx="18">
                  <c:v>1.414577285785191</c:v>
                </c:pt>
                <c:pt idx="19">
                  <c:v>1.4677029061472857</c:v>
                </c:pt>
                <c:pt idx="20">
                  <c:v>1.4005478249684093</c:v>
                </c:pt>
                <c:pt idx="21">
                  <c:v>1.47101518252344</c:v>
                </c:pt>
                <c:pt idx="22">
                  <c:v>1.461829647947628</c:v>
                </c:pt>
                <c:pt idx="23">
                  <c:v>1.4103891894394838</c:v>
                </c:pt>
                <c:pt idx="24">
                  <c:v>1.3242616628025397</c:v>
                </c:pt>
                <c:pt idx="25">
                  <c:v>1.4467494510252683</c:v>
                </c:pt>
                <c:pt idx="26">
                  <c:v>1.3505402249039642</c:v>
                </c:pt>
                <c:pt idx="27">
                  <c:v>1.397456849269068</c:v>
                </c:pt>
                <c:pt idx="28">
                  <c:v>1.4870711522607647</c:v>
                </c:pt>
                <c:pt idx="29">
                  <c:v>1.415380212961429</c:v>
                </c:pt>
                <c:pt idx="30">
                  <c:v>1.4891870068195807</c:v>
                </c:pt>
                <c:pt idx="31">
                  <c:v>1.390334073731757</c:v>
                </c:pt>
                <c:pt idx="32">
                  <c:v>1.4990499760498164</c:v>
                </c:pt>
                <c:pt idx="33">
                  <c:v>1.3993400828278728</c:v>
                </c:pt>
                <c:pt idx="34">
                  <c:v>1.5440702853109864</c:v>
                </c:pt>
                <c:pt idx="35">
                  <c:v>1.447222136198941</c:v>
                </c:pt>
                <c:pt idx="36">
                  <c:v>1.488996379929149</c:v>
                </c:pt>
                <c:pt idx="37">
                  <c:v>1.5006343488135327</c:v>
                </c:pt>
                <c:pt idx="38">
                  <c:v>1.5316527055460718</c:v>
                </c:pt>
                <c:pt idx="39">
                  <c:v>1.5391125765123985</c:v>
                </c:pt>
                <c:pt idx="40">
                  <c:v>1.5416583160308157</c:v>
                </c:pt>
                <c:pt idx="41">
                  <c:v>1.412013074464755</c:v>
                </c:pt>
                <c:pt idx="42">
                  <c:v>1.5473875576627372</c:v>
                </c:pt>
                <c:pt idx="43">
                  <c:v>1.4489425800746414</c:v>
                </c:pt>
                <c:pt idx="44">
                  <c:v>1.5325197725655153</c:v>
                </c:pt>
                <c:pt idx="45">
                  <c:v>1.5224909099569712</c:v>
                </c:pt>
                <c:pt idx="46">
                  <c:v>1.4715208948504896</c:v>
                </c:pt>
                <c:pt idx="47">
                  <c:v>1.437978606120199</c:v>
                </c:pt>
                <c:pt idx="48">
                  <c:v>1.5396502903581886</c:v>
                </c:pt>
                <c:pt idx="49">
                  <c:v>1.541230533571611</c:v>
                </c:pt>
                <c:pt idx="50">
                  <c:v>1.5380610541949806</c:v>
                </c:pt>
                <c:pt idx="51">
                  <c:v>1.5612146229289738</c:v>
                </c:pt>
                <c:pt idx="52">
                  <c:v>1.3795053980605265</c:v>
                </c:pt>
                <c:pt idx="53">
                  <c:v>1.3795053980605265</c:v>
                </c:pt>
                <c:pt idx="54">
                  <c:v>1.4687173738349135</c:v>
                </c:pt>
              </c:numCache>
            </c:numRef>
          </c:xVal>
          <c:yVal>
            <c:numRef>
              <c:f>Sheet1!$B$147:$B$201</c:f>
              <c:numCache>
                <c:formatCode>General</c:formatCode>
                <c:ptCount val="55"/>
                <c:pt idx="0">
                  <c:v>0.007032008344369685</c:v>
                </c:pt>
                <c:pt idx="1">
                  <c:v>0.010050832199531484</c:v>
                </c:pt>
                <c:pt idx="2">
                  <c:v>0.005469509081427015</c:v>
                </c:pt>
                <c:pt idx="3">
                  <c:v>0.007789074869596034</c:v>
                </c:pt>
                <c:pt idx="4">
                  <c:v>0.004784822544530304</c:v>
                </c:pt>
                <c:pt idx="5">
                  <c:v>0.0050158092947350935</c:v>
                </c:pt>
                <c:pt idx="6">
                  <c:v>0.005325161945377507</c:v>
                </c:pt>
                <c:pt idx="7">
                  <c:v>0.006219465382095751</c:v>
                </c:pt>
                <c:pt idx="8">
                  <c:v>0.006468456263320196</c:v>
                </c:pt>
                <c:pt idx="9">
                  <c:v>0.005961725604048715</c:v>
                </c:pt>
                <c:pt idx="10">
                  <c:v>0.00548397533184157</c:v>
                </c:pt>
                <c:pt idx="11">
                  <c:v>0.007366304992806064</c:v>
                </c:pt>
                <c:pt idx="12">
                  <c:v>0.026633693408903793</c:v>
                </c:pt>
                <c:pt idx="13">
                  <c:v>0.023281469265724906</c:v>
                </c:pt>
                <c:pt idx="14">
                  <c:v>0.005325202731612244</c:v>
                </c:pt>
                <c:pt idx="15">
                  <c:v>0.0027216003133204297</c:v>
                </c:pt>
                <c:pt idx="16">
                  <c:v>0.008371185911960531</c:v>
                </c:pt>
                <c:pt idx="17">
                  <c:v>0.004758794678792727</c:v>
                </c:pt>
                <c:pt idx="18">
                  <c:v>0.007315840866632908</c:v>
                </c:pt>
                <c:pt idx="19">
                  <c:v>0.005004597377137834</c:v>
                </c:pt>
                <c:pt idx="20">
                  <c:v>0.0079261960917184</c:v>
                </c:pt>
                <c:pt idx="21">
                  <c:v>0.004860495959448652</c:v>
                </c:pt>
                <c:pt idx="22">
                  <c:v>0.0052601149538467895</c:v>
                </c:pt>
                <c:pt idx="23">
                  <c:v>0.007498045052606053</c:v>
                </c:pt>
                <c:pt idx="24">
                  <c:v>0.011245044783605551</c:v>
                </c:pt>
                <c:pt idx="25">
                  <c:v>0.005916182717753335</c:v>
                </c:pt>
                <c:pt idx="26">
                  <c:v>0.010101789323128246</c:v>
                </c:pt>
                <c:pt idx="27">
                  <c:v>0.00806066976774511</c:v>
                </c:pt>
                <c:pt idx="28">
                  <c:v>0.004161976953552984</c:v>
                </c:pt>
                <c:pt idx="29">
                  <c:v>0.007280909317674604</c:v>
                </c:pt>
                <c:pt idx="30">
                  <c:v>0.004069926168254828</c:v>
                </c:pt>
                <c:pt idx="31">
                  <c:v>0.008370547910824463</c:v>
                </c:pt>
                <c:pt idx="32">
                  <c:v>0.0036408352086556572</c:v>
                </c:pt>
                <c:pt idx="33">
                  <c:v>0.007978739217620337</c:v>
                </c:pt>
                <c:pt idx="34">
                  <c:v>0.0016822153193117306</c:v>
                </c:pt>
                <c:pt idx="35">
                  <c:v>0.005895618430262942</c:v>
                </c:pt>
                <c:pt idx="36">
                  <c:v>0.0040782194391179305</c:v>
                </c:pt>
                <c:pt idx="37">
                  <c:v>0.003571906672666547</c:v>
                </c:pt>
                <c:pt idx="38">
                  <c:v>0.002222445253406244</c:v>
                </c:pt>
                <c:pt idx="39">
                  <c:v>0.001897901688815734</c:v>
                </c:pt>
                <c:pt idx="40">
                  <c:v>0.001787148650116352</c:v>
                </c:pt>
                <c:pt idx="41">
                  <c:v>0.007427397525729837</c:v>
                </c:pt>
                <c:pt idx="42">
                  <c:v>0.001537896550446366</c:v>
                </c:pt>
                <c:pt idx="43">
                  <c:v>0.005820770086287813</c:v>
                </c:pt>
                <c:pt idx="44">
                  <c:v>0.002184723284420542</c:v>
                </c:pt>
                <c:pt idx="45">
                  <c:v>0.002621031477210642</c:v>
                </c:pt>
                <c:pt idx="46">
                  <c:v>0.004838494817335226</c:v>
                </c:pt>
                <c:pt idx="47">
                  <c:v>0.006297760533617802</c:v>
                </c:pt>
                <c:pt idx="48">
                  <c:v>0.0018745083125723538</c:v>
                </c:pt>
                <c:pt idx="49">
                  <c:v>0.0018057594337084898</c:v>
                </c:pt>
                <c:pt idx="50">
                  <c:v>0.0019436484319808323</c:v>
                </c:pt>
                <c:pt idx="51">
                  <c:v>0.0009363465947452437</c:v>
                </c:pt>
                <c:pt idx="52">
                  <c:v>0.008841652172278745</c:v>
                </c:pt>
                <c:pt idx="53">
                  <c:v>0.008841652172278745</c:v>
                </c:pt>
                <c:pt idx="54">
                  <c:v>0.0049604627049711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Tartare</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66</c:f>
              <c:numCache>
                <c:formatCode>General</c:formatCode>
                <c:ptCount val="65"/>
                <c:pt idx="0">
                  <c:v>19.9792</c:v>
                </c:pt>
                <c:pt idx="1">
                  <c:v>18.4599</c:v>
                </c:pt>
                <c:pt idx="2">
                  <c:v>18.4294</c:v>
                </c:pt>
                <c:pt idx="3">
                  <c:v>18.2571</c:v>
                </c:pt>
                <c:pt idx="4">
                  <c:v>18.39</c:v>
                </c:pt>
                <c:pt idx="5">
                  <c:v>18.5531</c:v>
                </c:pt>
                <c:pt idx="6">
                  <c:v>18.5911</c:v>
                </c:pt>
                <c:pt idx="7">
                  <c:v>18.3118</c:v>
                </c:pt>
                <c:pt idx="8">
                  <c:v>17.8739</c:v>
                </c:pt>
                <c:pt idx="9">
                  <c:v>16.7077</c:v>
                </c:pt>
                <c:pt idx="10">
                  <c:v>18.217</c:v>
                </c:pt>
                <c:pt idx="11">
                  <c:v>17.7126</c:v>
                </c:pt>
                <c:pt idx="12">
                  <c:v>18.4457</c:v>
                </c:pt>
                <c:pt idx="13">
                  <c:v>18.0393</c:v>
                </c:pt>
                <c:pt idx="14">
                  <c:v>17.5347</c:v>
                </c:pt>
                <c:pt idx="15">
                  <c:v>18.1528</c:v>
                </c:pt>
                <c:pt idx="16">
                  <c:v>17.5946</c:v>
                </c:pt>
                <c:pt idx="17">
                  <c:v>18.0479</c:v>
                </c:pt>
                <c:pt idx="18">
                  <c:v>18.0041</c:v>
                </c:pt>
                <c:pt idx="19">
                  <c:v>18.1045</c:v>
                </c:pt>
                <c:pt idx="20">
                  <c:v>17.4893</c:v>
                </c:pt>
                <c:pt idx="21">
                  <c:v>17.5788</c:v>
                </c:pt>
                <c:pt idx="22">
                  <c:v>18.0079</c:v>
                </c:pt>
                <c:pt idx="23">
                  <c:v>18.1406</c:v>
                </c:pt>
                <c:pt idx="24">
                  <c:v>18.5066</c:v>
                </c:pt>
                <c:pt idx="25">
                  <c:v>18.5247</c:v>
                </c:pt>
                <c:pt idx="26">
                  <c:v>18.2847</c:v>
                </c:pt>
                <c:pt idx="27">
                  <c:v>12.1655</c:v>
                </c:pt>
                <c:pt idx="28">
                  <c:v>12.3737</c:v>
                </c:pt>
                <c:pt idx="29">
                  <c:v>18.0409</c:v>
                </c:pt>
                <c:pt idx="30">
                  <c:v>18.0512</c:v>
                </c:pt>
                <c:pt idx="31">
                  <c:v>17.4979</c:v>
                </c:pt>
                <c:pt idx="32">
                  <c:v>18.3662</c:v>
                </c:pt>
                <c:pt idx="33">
                  <c:v>17.8322</c:v>
                </c:pt>
                <c:pt idx="34">
                  <c:v>14.8796</c:v>
                </c:pt>
                <c:pt idx="35">
                  <c:v>15.4677</c:v>
                </c:pt>
                <c:pt idx="36">
                  <c:v>17.7939</c:v>
                </c:pt>
                <c:pt idx="37">
                  <c:v>17.6684</c:v>
                </c:pt>
                <c:pt idx="38">
                  <c:v>17.705</c:v>
                </c:pt>
                <c:pt idx="39">
                  <c:v>17.2831</c:v>
                </c:pt>
                <c:pt idx="40">
                  <c:v>17.2198</c:v>
                </c:pt>
                <c:pt idx="41">
                  <c:v>18.2571</c:v>
                </c:pt>
                <c:pt idx="42">
                  <c:v>17.4353</c:v>
                </c:pt>
                <c:pt idx="43">
                  <c:v>18.0455</c:v>
                </c:pt>
                <c:pt idx="44">
                  <c:v>18.1211</c:v>
                </c:pt>
                <c:pt idx="45">
                  <c:v>17.9104</c:v>
                </c:pt>
                <c:pt idx="46">
                  <c:v>18.3838</c:v>
                </c:pt>
                <c:pt idx="47">
                  <c:v>18.4782</c:v>
                </c:pt>
                <c:pt idx="48">
                  <c:v>18.4197</c:v>
                </c:pt>
                <c:pt idx="49">
                  <c:v>18.2912</c:v>
                </c:pt>
                <c:pt idx="50">
                  <c:v>18.7779</c:v>
                </c:pt>
                <c:pt idx="51">
                  <c:v>18.5071</c:v>
                </c:pt>
                <c:pt idx="52">
                  <c:v>15.0599</c:v>
                </c:pt>
                <c:pt idx="53">
                  <c:v>15.091</c:v>
                </c:pt>
                <c:pt idx="54">
                  <c:v>18.7135</c:v>
                </c:pt>
                <c:pt idx="55">
                  <c:v>18.5048</c:v>
                </c:pt>
                <c:pt idx="56">
                  <c:v>15.003</c:v>
                </c:pt>
                <c:pt idx="57">
                  <c:v>14.835</c:v>
                </c:pt>
                <c:pt idx="58">
                  <c:v>18.0278</c:v>
                </c:pt>
                <c:pt idx="59">
                  <c:v>18.1679</c:v>
                </c:pt>
                <c:pt idx="60">
                  <c:v>17.4619</c:v>
                </c:pt>
                <c:pt idx="61">
                  <c:v>18.1446</c:v>
                </c:pt>
                <c:pt idx="62">
                  <c:v>18.2544</c:v>
                </c:pt>
                <c:pt idx="63">
                  <c:v>18.31</c:v>
                </c:pt>
                <c:pt idx="64">
                  <c:v>17.0984</c:v>
                </c:pt>
              </c:numCache>
            </c:numRef>
          </c:xVal>
          <c:yVal>
            <c:numRef>
              <c:f>Sheet1!$B$2:$B$66</c:f>
              <c:numCache>
                <c:formatCode>General</c:formatCode>
                <c:ptCount val="65"/>
                <c:pt idx="0">
                  <c:v>0.0002814754002228347</c:v>
                </c:pt>
                <c:pt idx="1">
                  <c:v>0.0015990895694422153</c:v>
                </c:pt>
                <c:pt idx="2">
                  <c:v>0.002323713841474875</c:v>
                </c:pt>
                <c:pt idx="3">
                  <c:v>0.0018356603241688721</c:v>
                </c:pt>
                <c:pt idx="4">
                  <c:v>0.005972938209587085</c:v>
                </c:pt>
                <c:pt idx="5">
                  <c:v>0.006060508069449273</c:v>
                </c:pt>
                <c:pt idx="6">
                  <c:v>0.0033460803059273425</c:v>
                </c:pt>
                <c:pt idx="7">
                  <c:v>0.0035170018526832943</c:v>
                </c:pt>
                <c:pt idx="8">
                  <c:v>0.00283253707953986</c:v>
                </c:pt>
                <c:pt idx="9">
                  <c:v>0.008111980862830548</c:v>
                </c:pt>
                <c:pt idx="10">
                  <c:v>0.0047520074099098595</c:v>
                </c:pt>
                <c:pt idx="11">
                  <c:v>0.0024847259891397607</c:v>
                </c:pt>
                <c:pt idx="12">
                  <c:v>0.004640958568897139</c:v>
                </c:pt>
                <c:pt idx="13">
                  <c:v>0.0020015491104909207</c:v>
                </c:pt>
                <c:pt idx="14">
                  <c:v>0.0024491455923200513</c:v>
                </c:pt>
                <c:pt idx="15">
                  <c:v>0.0032990986391218113</c:v>
                </c:pt>
                <c:pt idx="16">
                  <c:v>0.0016374274147109116</c:v>
                </c:pt>
                <c:pt idx="17">
                  <c:v>0.004299953975043531</c:v>
                </c:pt>
                <c:pt idx="18">
                  <c:v>0.0034014825277456696</c:v>
                </c:pt>
                <c:pt idx="19">
                  <c:v>0.002580348534713898</c:v>
                </c:pt>
                <c:pt idx="20">
                  <c:v>0.001570951165489968</c:v>
                </c:pt>
                <c:pt idx="21">
                  <c:v>0.0023970578577526764</c:v>
                </c:pt>
                <c:pt idx="22">
                  <c:v>0.004593206296603148</c:v>
                </c:pt>
                <c:pt idx="23">
                  <c:v>0.003563167060080006</c:v>
                </c:pt>
                <c:pt idx="24">
                  <c:v>0.002499620886619825</c:v>
                </c:pt>
                <c:pt idx="25">
                  <c:v>0.0028432577957730057</c:v>
                </c:pt>
                <c:pt idx="26">
                  <c:v>0.0028456056405777286</c:v>
                </c:pt>
                <c:pt idx="27">
                  <c:v>0.018069312518341457</c:v>
                </c:pt>
                <c:pt idx="28">
                  <c:v>0.011860850472228065</c:v>
                </c:pt>
                <c:pt idx="29">
                  <c:v>0.003275955523019148</c:v>
                </c:pt>
                <c:pt idx="30">
                  <c:v>0.0038721345431499544</c:v>
                </c:pt>
                <c:pt idx="31">
                  <c:v>0.0020256055082560087</c:v>
                </c:pt>
                <c:pt idx="32">
                  <c:v>0.0013343243227426217</c:v>
                </c:pt>
                <c:pt idx="33">
                  <c:v>0.0032487402179715882</c:v>
                </c:pt>
                <c:pt idx="34">
                  <c:v>0.010666782389827933</c:v>
                </c:pt>
                <c:pt idx="35">
                  <c:v>0.015003325763449663</c:v>
                </c:pt>
                <c:pt idx="36">
                  <c:v>0.006557980602183692</c:v>
                </c:pt>
                <c:pt idx="37">
                  <c:v>0.005406112622985137</c:v>
                </c:pt>
                <c:pt idx="38">
                  <c:v>0.004204718038505667</c:v>
                </c:pt>
                <c:pt idx="39">
                  <c:v>0.003396472218201369</c:v>
                </c:pt>
                <c:pt idx="40">
                  <c:v>0.002947632322204535</c:v>
                </c:pt>
                <c:pt idx="41">
                  <c:v>0.003921777687124655</c:v>
                </c:pt>
                <c:pt idx="42">
                  <c:v>0.004849386576554994</c:v>
                </c:pt>
                <c:pt idx="43">
                  <c:v>0.007163749550310482</c:v>
                </c:pt>
                <c:pt idx="44">
                  <c:v>0.003426028397183828</c:v>
                </c:pt>
                <c:pt idx="45">
                  <c:v>0.0019463824883677017</c:v>
                </c:pt>
                <c:pt idx="46">
                  <c:v>0.005835173686989567</c:v>
                </c:pt>
                <c:pt idx="47">
                  <c:v>0.004251742211779948</c:v>
                </c:pt>
                <c:pt idx="48">
                  <c:v>0.005132722835434542</c:v>
                </c:pt>
                <c:pt idx="49">
                  <c:v>0.006577742871016273</c:v>
                </c:pt>
                <c:pt idx="50">
                  <c:v>0.005447282029955325</c:v>
                </c:pt>
                <c:pt idx="51">
                  <c:v>0.005557528780059754</c:v>
                </c:pt>
                <c:pt idx="52">
                  <c:v>0.005838528906102763</c:v>
                </c:pt>
                <c:pt idx="53">
                  <c:v>0.005597259068035546</c:v>
                </c:pt>
                <c:pt idx="54">
                  <c:v>0.004228122764587662</c:v>
                </c:pt>
                <c:pt idx="55">
                  <c:v>0.006359928400169125</c:v>
                </c:pt>
                <c:pt idx="56">
                  <c:v>0.023529411764705882</c:v>
                </c:pt>
                <c:pt idx="57">
                  <c:v>0.02171514051694541</c:v>
                </c:pt>
                <c:pt idx="58">
                  <c:v>0.0069392861331561044</c:v>
                </c:pt>
                <c:pt idx="59">
                  <c:v>0.007026373166870763</c:v>
                </c:pt>
                <c:pt idx="60">
                  <c:v>0.005244477282505004</c:v>
                </c:pt>
                <c:pt idx="61">
                  <c:v>0.006133340208311849</c:v>
                </c:pt>
                <c:pt idx="62">
                  <c:v>0.005052848995701838</c:v>
                </c:pt>
                <c:pt idx="63">
                  <c:v>0.007077570930329489</c:v>
                </c:pt>
                <c:pt idx="64">
                  <c:v>0.01413127441397312</c:v>
                </c:pt>
              </c:numCache>
            </c:numRef>
          </c:yVal>
          <c:smooth val="0"/>
          <c:extLst>
            <c:ext xmlns:c16="http://schemas.microsoft.com/office/drawing/2014/chart" uri="{C3380CC4-5D6E-409C-BE32-E72D297353CC}">
              <c16:uniqueId val="{00000000-F32D-48B7-BC20-E66FC6253BAD}"/>
            </c:ext>
          </c:extLst>
        </c:ser>
        <c:ser>
          <c:idx val="1"/>
          <c:order val="1"/>
          <c:tx>
            <c:strRef>
              <c:f>Sheet1!$B$68</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69:$A$120</c:f>
              <c:numCache>
                <c:formatCode>General</c:formatCode>
                <c:ptCount val="52"/>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numCache>
            </c:numRef>
          </c:xVal>
          <c:yVal>
            <c:numRef>
              <c:f>Sheet1!$B$69:$B$120</c:f>
              <c:numCache>
                <c:formatCode>General</c:formatCode>
                <c:ptCount val="52"/>
                <c:pt idx="0">
                  <c:v>0.01514261938884009</c:v>
                </c:pt>
                <c:pt idx="1">
                  <c:v>0.0037494470781408856</c:v>
                </c:pt>
                <c:pt idx="2">
                  <c:v>0.006042599369447107</c:v>
                </c:pt>
                <c:pt idx="3">
                  <c:v>0.002963525461170913</c:v>
                </c:pt>
                <c:pt idx="4">
                  <c:v>0.0034925003440209163</c:v>
                </c:pt>
                <c:pt idx="5">
                  <c:v>0.001982963042526295</c:v>
                </c:pt>
                <c:pt idx="6">
                  <c:v>0.004089530104569552</c:v>
                </c:pt>
                <c:pt idx="7">
                  <c:v>0.004345611046900663</c:v>
                </c:pt>
                <c:pt idx="8">
                  <c:v>0.003102389277875604</c:v>
                </c:pt>
                <c:pt idx="9">
                  <c:v>0.00715502193267956</c:v>
                </c:pt>
                <c:pt idx="10">
                  <c:v>0.0034772746255665407</c:v>
                </c:pt>
                <c:pt idx="11">
                  <c:v>0.008257646166755011</c:v>
                </c:pt>
                <c:pt idx="12">
                  <c:v>0.04021094958894304</c:v>
                </c:pt>
                <c:pt idx="13">
                  <c:v>0.02234721705069987</c:v>
                </c:pt>
                <c:pt idx="14">
                  <c:v>0.006528930704033054</c:v>
                </c:pt>
                <c:pt idx="15">
                  <c:v>0.006355368078814973</c:v>
                </c:pt>
                <c:pt idx="16">
                  <c:v>0.004172080621224344</c:v>
                </c:pt>
                <c:pt idx="17">
                  <c:v>0.0026915781070332586</c:v>
                </c:pt>
                <c:pt idx="18">
                  <c:v>0.0021990855779743562</c:v>
                </c:pt>
                <c:pt idx="19">
                  <c:v>0.00393012187558795</c:v>
                </c:pt>
                <c:pt idx="20">
                  <c:v>0.003422158996081922</c:v>
                </c:pt>
                <c:pt idx="21">
                  <c:v>0.004194044914229819</c:v>
                </c:pt>
                <c:pt idx="22">
                  <c:v>0.005787439872203332</c:v>
                </c:pt>
                <c:pt idx="23">
                  <c:v>0.0036410510038066553</c:v>
                </c:pt>
                <c:pt idx="24">
                  <c:v>0.007136118917062219</c:v>
                </c:pt>
                <c:pt idx="25">
                  <c:v>0.004216116163360658</c:v>
                </c:pt>
                <c:pt idx="26">
                  <c:v>0.007852799456251289</c:v>
                </c:pt>
                <c:pt idx="27">
                  <c:v>0.0046074941845800285</c:v>
                </c:pt>
                <c:pt idx="28">
                  <c:v>0.0021047408998058057</c:v>
                </c:pt>
                <c:pt idx="29">
                  <c:v>0.00794554160677739</c:v>
                </c:pt>
                <c:pt idx="30">
                  <c:v>0.009442694977035471</c:v>
                </c:pt>
                <c:pt idx="31">
                  <c:v>0.007587284382575096</c:v>
                </c:pt>
                <c:pt idx="32">
                  <c:v>0.0035865722235046836</c:v>
                </c:pt>
                <c:pt idx="33">
                  <c:v>0.007907230470923104</c:v>
                </c:pt>
                <c:pt idx="34">
                  <c:v>0.004923689474495593</c:v>
                </c:pt>
                <c:pt idx="35">
                  <c:v>0.002920501239515061</c:v>
                </c:pt>
                <c:pt idx="36">
                  <c:v>0.004273436571745416</c:v>
                </c:pt>
                <c:pt idx="37">
                  <c:v>0.0033227603697064834</c:v>
                </c:pt>
                <c:pt idx="38">
                  <c:v>0.003580646004864046</c:v>
                </c:pt>
                <c:pt idx="39">
                  <c:v>0.003490125786660139</c:v>
                </c:pt>
                <c:pt idx="40">
                  <c:v>0.003162182111260288</c:v>
                </c:pt>
                <c:pt idx="41">
                  <c:v>0.004085039792745643</c:v>
                </c:pt>
                <c:pt idx="42">
                  <c:v>0.004494600141038136</c:v>
                </c:pt>
                <c:pt idx="43">
                  <c:v>0.0022390247175615116</c:v>
                </c:pt>
                <c:pt idx="44">
                  <c:v>0.01114102514669092</c:v>
                </c:pt>
                <c:pt idx="45">
                  <c:v>0.006755475532667119</c:v>
                </c:pt>
                <c:pt idx="46">
                  <c:v>0.004248628676229996</c:v>
                </c:pt>
                <c:pt idx="47">
                  <c:v>0.004721105773943731</c:v>
                </c:pt>
                <c:pt idx="48">
                  <c:v>0.004485742457806607</c:v>
                </c:pt>
                <c:pt idx="49">
                  <c:v>0.003976093648030358</c:v>
                </c:pt>
                <c:pt idx="50">
                  <c:v>0.004257288727347911</c:v>
                </c:pt>
                <c:pt idx="51">
                  <c:v>0.007429682652642513</c:v>
                </c:pt>
              </c:numCache>
            </c:numRef>
          </c:yVal>
          <c:smooth val="0"/>
          <c:extLst>
            <c:ext xmlns:c16="http://schemas.microsoft.com/office/drawing/2014/chart" uri="{C3380CC4-5D6E-409C-BE32-E72D297353CC}">
              <c16:uniqueId val="{00000002-F32D-48B7-BC20-E66FC6253BAD}"/>
            </c:ext>
          </c:extLst>
        </c:ser>
        <c:ser>
          <c:idx val="2"/>
          <c:order val="2"/>
          <c:tx>
            <c:strRef>
              <c:f>Sheet1!$B$122</c:f>
              <c:strCache>
                <c:ptCount val="1"/>
                <c:pt idx="0">
                  <c:v>Custom Linep3yQ</c:v>
                </c:pt>
              </c:strCache>
            </c:strRef>
          </c:tx>
          <c:spPr>
            <a:ln w="19050" cap="rnd">
              <a:solidFill>
                <a:srgbClr val="C00000"/>
              </a:solidFill>
              <a:prstDash val="sysDot"/>
              <a:round/>
            </a:ln>
            <a:effectLst/>
          </c:spPr>
          <c:marker>
            <c:symbol val="none"/>
          </c:marker>
          <c:xVal>
            <c:numRef>
              <c:f>Sheet1!$A$123:$A$124</c:f>
              <c:numCache>
                <c:formatCode>General</c:formatCode>
                <c:ptCount val="2"/>
                <c:pt idx="0">
                  <c:v>0</c:v>
                </c:pt>
                <c:pt idx="1">
                  <c:v>17.79023103505495</c:v>
                </c:pt>
              </c:numCache>
            </c:numRef>
          </c:xVal>
          <c:yVal>
            <c:numRef>
              <c:f>Sheet1!$B$123:$B$124</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3-F32D-48B7-BC20-E66FC6253BAD}"/>
            </c:ext>
          </c:extLst>
        </c:ser>
        <c:ser>
          <c:idx val="3"/>
          <c:order val="3"/>
          <c:tx>
            <c:strRef>
              <c:f>Sheet1!$B$126</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27:$A$128</c:f>
              <c:numCache>
                <c:formatCode>General</c:formatCode>
                <c:ptCount val="2"/>
                <c:pt idx="0">
                  <c:v>17.79023103505495</c:v>
                </c:pt>
                <c:pt idx="1">
                  <c:v>17.79023103505495</c:v>
                </c:pt>
              </c:numCache>
            </c:numRef>
          </c:xVal>
          <c:yVal>
            <c:numRef>
              <c:f>Sheet1!$B$127:$B$128</c:f>
              <c:numCache>
                <c:formatCode>General</c:formatCode>
                <c:ptCount val="2"/>
                <c:pt idx="0">
                  <c:v>0.008841652172278745</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30</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31:$A$132</c:f>
              <c:numCache>
                <c:formatCode>General</c:formatCode>
                <c:ptCount val="2"/>
                <c:pt idx="0">
                  <c:v>0</c:v>
                </c:pt>
                <c:pt idx="1">
                  <c:v>17.79023103505495</c:v>
                </c:pt>
              </c:numCache>
            </c:numRef>
          </c:xVal>
          <c:yVal>
            <c:numRef>
              <c:f>Sheet1!$B$131:$B$132</c:f>
              <c:numCache>
                <c:formatCode>General</c:formatCode>
                <c:ptCount val="2"/>
                <c:pt idx="0">
                  <c:v>0.008841652172278745</c:v>
                </c:pt>
                <c:pt idx="1">
                  <c:v>0.008841652172278745</c:v>
                </c:pt>
              </c:numCache>
            </c:numRef>
          </c:yVal>
          <c:smooth val="0"/>
          <c:extLst>
            <c:ext xmlns:c16="http://schemas.microsoft.com/office/drawing/2014/chart" uri="{C3380CC4-5D6E-409C-BE32-E72D297353CC}">
              <c16:uniqueId val="{0000000A-F32D-48B7-BC20-E66FC6253BAD}"/>
            </c:ext>
          </c:extLst>
        </c:ser>
        <c:ser>
          <c:idx val="5"/>
          <c:order val="5"/>
          <c:tx>
            <c:strRef>
              <c:f>Sheet1!$B$134</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35:$A$136</c:f>
              <c:numCache>
                <c:formatCode>General</c:formatCode>
                <c:ptCount val="2"/>
                <c:pt idx="0">
                  <c:v>17.79023103505495</c:v>
                </c:pt>
                <c:pt idx="1">
                  <c:v>17.79023103505495</c:v>
                </c:pt>
              </c:numCache>
            </c:numRef>
          </c:xVal>
          <c:yVal>
            <c:numRef>
              <c:f>Sheet1!$B$135:$B$136</c:f>
              <c:numCache>
                <c:formatCode>General</c:formatCode>
                <c:ptCount val="2"/>
                <c:pt idx="0">
                  <c:v>0.008841652172278745</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38</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39:$A$140</c:f>
              <c:numCache>
                <c:formatCode>General</c:formatCode>
                <c:ptCount val="2"/>
                <c:pt idx="0">
                  <c:v>0</c:v>
                </c:pt>
                <c:pt idx="1">
                  <c:v>18.74000211781145</c:v>
                </c:pt>
              </c:numCache>
            </c:numRef>
          </c:xVal>
          <c:yVal>
            <c:numRef>
              <c:f>Sheet1!$B$139:$B$140</c:f>
              <c:numCache>
                <c:formatCode>General</c:formatCode>
                <c:ptCount val="2"/>
                <c:pt idx="0">
                  <c:v>0.0049604627049711445</c:v>
                </c:pt>
                <c:pt idx="1">
                  <c:v>0.0049604627049711445</c:v>
                </c:pt>
              </c:numCache>
            </c:numRef>
          </c:yVal>
          <c:smooth val="0"/>
          <c:extLst>
            <c:ext xmlns:c16="http://schemas.microsoft.com/office/drawing/2014/chart" uri="{C3380CC4-5D6E-409C-BE32-E72D297353CC}">
              <c16:uniqueId val="{00000011-F32D-48B7-BC20-E66FC6253BAD}"/>
            </c:ext>
          </c:extLst>
        </c:ser>
        <c:ser>
          <c:idx val="7"/>
          <c:order val="7"/>
          <c:tx>
            <c:strRef>
              <c:f>Sheet1!$B$142</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43:$A$144</c:f>
              <c:numCache>
                <c:formatCode>General</c:formatCode>
                <c:ptCount val="2"/>
                <c:pt idx="0">
                  <c:v>18.74000211781145</c:v>
                </c:pt>
                <c:pt idx="1">
                  <c:v>18.74000211781145</c:v>
                </c:pt>
              </c:numCache>
            </c:numRef>
          </c:xVal>
          <c:yVal>
            <c:numRef>
              <c:f>Sheet1!$B$143:$B$144</c:f>
              <c:numCache>
                <c:formatCode>General</c:formatCode>
                <c:ptCount val="2"/>
                <c:pt idx="0">
                  <c:v>0.0049604627049711445</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46</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47:$A$201</c:f>
              <c:numCache>
                <c:formatCode>General</c:formatCode>
                <c:ptCount val="55"/>
                <c:pt idx="0">
                  <c:v>17.3363</c:v>
                </c:pt>
                <c:pt idx="1">
                  <c:v>18.0148</c:v>
                </c:pt>
                <c:pt idx="2">
                  <c:v>17.6028</c:v>
                </c:pt>
                <c:pt idx="3">
                  <c:v>17.8552</c:v>
                </c:pt>
                <c:pt idx="4">
                  <c:v>18.0355</c:v>
                </c:pt>
                <c:pt idx="5">
                  <c:v>18.2333</c:v>
                </c:pt>
                <c:pt idx="6">
                  <c:v>18.6419</c:v>
                </c:pt>
                <c:pt idx="7">
                  <c:v>18.5717</c:v>
                </c:pt>
                <c:pt idx="8">
                  <c:v>18.082</c:v>
                </c:pt>
                <c:pt idx="9">
                  <c:v>18.4742</c:v>
                </c:pt>
                <c:pt idx="10">
                  <c:v>18.1245</c:v>
                </c:pt>
                <c:pt idx="11">
                  <c:v>18.5993</c:v>
                </c:pt>
                <c:pt idx="12">
                  <c:v>12.3123</c:v>
                </c:pt>
                <c:pt idx="13">
                  <c:v>13.4329</c:v>
                </c:pt>
                <c:pt idx="14">
                  <c:v>18.4316</c:v>
                </c:pt>
                <c:pt idx="15">
                  <c:v>18.5208</c:v>
                </c:pt>
                <c:pt idx="16">
                  <c:v>18.0989</c:v>
                </c:pt>
                <c:pt idx="17">
                  <c:v>18.8626</c:v>
                </c:pt>
                <c:pt idx="18">
                  <c:v>18.8102</c:v>
                </c:pt>
                <c:pt idx="19">
                  <c:v>18.6206</c:v>
                </c:pt>
                <c:pt idx="20">
                  <c:v>18.5095</c:v>
                </c:pt>
                <c:pt idx="21">
                  <c:v>18.5445</c:v>
                </c:pt>
                <c:pt idx="22">
                  <c:v>18.266</c:v>
                </c:pt>
                <c:pt idx="23">
                  <c:v>18.2754</c:v>
                </c:pt>
                <c:pt idx="24">
                  <c:v>18.3348</c:v>
                </c:pt>
                <c:pt idx="25">
                  <c:v>18.7111</c:v>
                </c:pt>
                <c:pt idx="26">
                  <c:v>18.3872</c:v>
                </c:pt>
                <c:pt idx="27">
                  <c:v>18.7269</c:v>
                </c:pt>
                <c:pt idx="28">
                  <c:v>18.7597</c:v>
                </c:pt>
                <c:pt idx="29">
                  <c:v>18.7954</c:v>
                </c:pt>
                <c:pt idx="30">
                  <c:v>18.6269</c:v>
                </c:pt>
                <c:pt idx="31">
                  <c:v>18.653</c:v>
                </c:pt>
                <c:pt idx="32">
                  <c:v>18.7771</c:v>
                </c:pt>
                <c:pt idx="33">
                  <c:v>18.6178</c:v>
                </c:pt>
                <c:pt idx="34">
                  <c:v>19.0336</c:v>
                </c:pt>
                <c:pt idx="35">
                  <c:v>18.6929</c:v>
                </c:pt>
                <c:pt idx="36">
                  <c:v>19.2085</c:v>
                </c:pt>
                <c:pt idx="37">
                  <c:v>19.1616</c:v>
                </c:pt>
                <c:pt idx="38">
                  <c:v>19.2904</c:v>
                </c:pt>
                <c:pt idx="39">
                  <c:v>19.1855</c:v>
                </c:pt>
                <c:pt idx="40">
                  <c:v>19.2308</c:v>
                </c:pt>
                <c:pt idx="41">
                  <c:v>19.3964</c:v>
                </c:pt>
                <c:pt idx="42">
                  <c:v>19.3213</c:v>
                </c:pt>
                <c:pt idx="43">
                  <c:v>19.3344</c:v>
                </c:pt>
                <c:pt idx="44">
                  <c:v>19.1637</c:v>
                </c:pt>
                <c:pt idx="45">
                  <c:v>19.1776</c:v>
                </c:pt>
                <c:pt idx="46">
                  <c:v>19.2859</c:v>
                </c:pt>
                <c:pt idx="47">
                  <c:v>19.304</c:v>
                </c:pt>
                <c:pt idx="48">
                  <c:v>19.2484</c:v>
                </c:pt>
                <c:pt idx="49">
                  <c:v>19.3184</c:v>
                </c:pt>
                <c:pt idx="50">
                  <c:v>19.2616</c:v>
                </c:pt>
                <c:pt idx="51">
                  <c:v>19.2134</c:v>
                </c:pt>
                <c:pt idx="52">
                  <c:v>17.79023103505495</c:v>
                </c:pt>
                <c:pt idx="53">
                  <c:v>17.79023103505495</c:v>
                </c:pt>
                <c:pt idx="54">
                  <c:v>18.74000211781145</c:v>
                </c:pt>
              </c:numCache>
            </c:numRef>
          </c:xVal>
          <c:yVal>
            <c:numRef>
              <c:f>Sheet1!$B$147:$B$201</c:f>
              <c:numCache>
                <c:formatCode>General</c:formatCode>
                <c:ptCount val="55"/>
                <c:pt idx="0">
                  <c:v>0.01069661742035316</c:v>
                </c:pt>
                <c:pt idx="1">
                  <c:v>0.007923962934047485</c:v>
                </c:pt>
                <c:pt idx="2">
                  <c:v>0.00960757921755219</c:v>
                </c:pt>
                <c:pt idx="3">
                  <c:v>0.008576159921541052</c:v>
                </c:pt>
                <c:pt idx="4">
                  <c:v>0.007839373475143255</c:v>
                </c:pt>
                <c:pt idx="5">
                  <c:v>0.007031074201169385</c:v>
                </c:pt>
                <c:pt idx="6">
                  <c:v>0.005361351838450892</c:v>
                </c:pt>
                <c:pt idx="7">
                  <c:v>0.0056482204382131</c:v>
                </c:pt>
                <c:pt idx="8">
                  <c:v>0.007649353676155463</c:v>
                </c:pt>
                <c:pt idx="9">
                  <c:v>0.006046649048993949</c:v>
                </c:pt>
                <c:pt idx="10">
                  <c:v>0.0074756796663279085</c:v>
                </c:pt>
                <c:pt idx="11">
                  <c:v>0.005535434493007446</c:v>
                </c:pt>
                <c:pt idx="12">
                  <c:v>0.031226928605614365</c:v>
                </c:pt>
                <c:pt idx="13">
                  <c:v>0.026647655772373186</c:v>
                </c:pt>
                <c:pt idx="14">
                  <c:v>0.006220731703550503</c:v>
                </c:pt>
                <c:pt idx="15">
                  <c:v>0.005856220605277143</c:v>
                </c:pt>
                <c:pt idx="16">
                  <c:v>0.007580292716953443</c:v>
                </c:pt>
                <c:pt idx="17">
                  <c:v>0.00445947292153466</c:v>
                </c:pt>
                <c:pt idx="18">
                  <c:v>0.00467360275953381</c:v>
                </c:pt>
                <c:pt idx="19">
                  <c:v>0.005448393165729176</c:v>
                </c:pt>
                <c:pt idx="20">
                  <c:v>0.005902397459654832</c:v>
                </c:pt>
                <c:pt idx="21">
                  <c:v>0.0057593718045027414</c:v>
                </c:pt>
                <c:pt idx="22">
                  <c:v>0.006897447374784441</c:v>
                </c:pt>
                <c:pt idx="23">
                  <c:v>0.0068590347702578575</c:v>
                </c:pt>
                <c:pt idx="24">
                  <c:v>0.006616299801228298</c:v>
                </c:pt>
                <c:pt idx="25">
                  <c:v>0.005078569685978751</c:v>
                </c:pt>
                <c:pt idx="26">
                  <c:v>0.006402169963229162</c:v>
                </c:pt>
                <c:pt idx="27">
                  <c:v>0.005014003818795798</c:v>
                </c:pt>
                <c:pt idx="28">
                  <c:v>0.00487996834768184</c:v>
                </c:pt>
                <c:pt idx="29">
                  <c:v>0.004734082179426682</c:v>
                </c:pt>
                <c:pt idx="30">
                  <c:v>0.005422648547801792</c:v>
                </c:pt>
                <c:pt idx="31">
                  <c:v>0.005315992273531231</c:v>
                </c:pt>
                <c:pt idx="32">
                  <c:v>0.004808864164834781</c:v>
                </c:pt>
                <c:pt idx="33">
                  <c:v>0.005459835218141348</c:v>
                </c:pt>
                <c:pt idx="34">
                  <c:v>0.003760690434934405</c:v>
                </c:pt>
                <c:pt idx="35">
                  <c:v>0.005152943026657822</c:v>
                </c:pt>
                <c:pt idx="36">
                  <c:v>0.0030459708039029254</c:v>
                </c:pt>
                <c:pt idx="37">
                  <c:v>0.0032376251818067303</c:v>
                </c:pt>
                <c:pt idx="38">
                  <c:v>0.0027112907708470024</c:v>
                </c:pt>
                <c:pt idx="39">
                  <c:v>0.0031399590915743014</c:v>
                </c:pt>
                <c:pt idx="40">
                  <c:v>0.002954843029334589</c:v>
                </c:pt>
                <c:pt idx="41">
                  <c:v>0.002278127358100665</c:v>
                </c:pt>
                <c:pt idx="42">
                  <c:v>0.002585019549584164</c:v>
                </c:pt>
                <c:pt idx="43">
                  <c:v>0.0025314870900843833</c:v>
                </c:pt>
                <c:pt idx="44">
                  <c:v>0.0032290436424976116</c:v>
                </c:pt>
                <c:pt idx="45">
                  <c:v>0.003172242025165764</c:v>
                </c:pt>
                <c:pt idx="46">
                  <c:v>0.0027296797836522807</c:v>
                </c:pt>
                <c:pt idx="47">
                  <c:v>0.0026557150877022095</c:v>
                </c:pt>
                <c:pt idx="48">
                  <c:v>0.0028829215570295302</c:v>
                </c:pt>
                <c:pt idx="49">
                  <c:v>0.0025968702467253357</c:v>
                </c:pt>
                <c:pt idx="50">
                  <c:v>0.002828980452800736</c:v>
                </c:pt>
                <c:pt idx="51">
                  <c:v>0.0030259472121816344</c:v>
                </c:pt>
                <c:pt idx="52">
                  <c:v>0.008841652172278752</c:v>
                </c:pt>
                <c:pt idx="53">
                  <c:v>0.008841652172278752</c:v>
                </c:pt>
                <c:pt idx="54">
                  <c:v>0.00496046270497115</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4.0"/>
          <c:min val="10.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4825313950673165"/>
          <c:min val="0.0002251803201782677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0.8896732712242488</c:v>
                </c:pt>
                <c:pt idx="1">
                  <c:v>0.8526579385220417</c:v>
                </c:pt>
                <c:pt idx="2">
                  <c:v>0.9722416117650433</c:v>
                </c:pt>
                <c:pt idx="3">
                  <c:v>0.7452231665969997</c:v>
                </c:pt>
                <c:pt idx="4">
                  <c:v>0.766155226409922</c:v>
                </c:pt>
                <c:pt idx="5">
                  <c:v>0.7349738175316105</c:v>
                </c:pt>
                <c:pt idx="6">
                  <c:v>0.8173903831893604</c:v>
                </c:pt>
                <c:pt idx="7">
                  <c:v>0.7431389733807634</c:v>
                </c:pt>
                <c:pt idx="8">
                  <c:v>0.6966457949457641</c:v>
                </c:pt>
                <c:pt idx="9">
                  <c:v>0.8994413407821229</c:v>
                </c:pt>
                <c:pt idx="10">
                  <c:v>0.8440890252749728</c:v>
                </c:pt>
                <c:pt idx="11">
                  <c:v>0.8670726171818128</c:v>
                </c:pt>
                <c:pt idx="12">
                  <c:v>0.8425371914337094</c:v>
                </c:pt>
                <c:pt idx="13">
                  <c:v>0.7198655221029273</c:v>
                </c:pt>
                <c:pt idx="14">
                  <c:v>0.6531870589283834</c:v>
                </c:pt>
                <c:pt idx="15">
                  <c:v>0.8187233545523565</c:v>
                </c:pt>
                <c:pt idx="16">
                  <c:v>0.8047134422537078</c:v>
                </c:pt>
                <c:pt idx="17">
                  <c:v>0.8203490952122676</c:v>
                </c:pt>
                <c:pt idx="18">
                  <c:v>0.7980814999475601</c:v>
                </c:pt>
                <c:pt idx="19">
                  <c:v>0.8149250769078099</c:v>
                </c:pt>
                <c:pt idx="20">
                  <c:v>0.8807549114117608</c:v>
                </c:pt>
                <c:pt idx="21">
                  <c:v>0.933513682239101</c:v>
                </c:pt>
                <c:pt idx="22">
                  <c:v>0.8391899793294848</c:v>
                </c:pt>
                <c:pt idx="23">
                  <c:v>0.7292185693582791</c:v>
                </c:pt>
                <c:pt idx="24">
                  <c:v>0.6058829670197303</c:v>
                </c:pt>
                <c:pt idx="25">
                  <c:v>0.7037185862340316</c:v>
                </c:pt>
                <c:pt idx="26">
                  <c:v>0.8379127539558112</c:v>
                </c:pt>
                <c:pt idx="27">
                  <c:v>0.950842955694101</c:v>
                </c:pt>
                <c:pt idx="28">
                  <c:v>0.9741670937980524</c:v>
                </c:pt>
                <c:pt idx="29">
                  <c:v>1.0987104337631886</c:v>
                </c:pt>
                <c:pt idx="30">
                  <c:v>1.0417647787829967</c:v>
                </c:pt>
                <c:pt idx="31">
                  <c:v>0.7568907051560734</c:v>
                </c:pt>
                <c:pt idx="32">
                  <c:v>0.6250514327095574</c:v>
                </c:pt>
                <c:pt idx="33">
                  <c:v>0.6252426242236024</c:v>
                </c:pt>
                <c:pt idx="34">
                  <c:v>0.69728769524525</c:v>
                </c:pt>
                <c:pt idx="35">
                  <c:v>0.7561845968531206</c:v>
                </c:pt>
                <c:pt idx="36">
                  <c:v>0.7987100824321598</c:v>
                </c:pt>
                <c:pt idx="37">
                  <c:v>0.8062234688261063</c:v>
                </c:pt>
                <c:pt idx="38">
                  <c:v>0.8326760263125838</c:v>
                </c:pt>
                <c:pt idx="39">
                  <c:v>0.8710090275397097</c:v>
                </c:pt>
                <c:pt idx="40">
                  <c:v>0.7430359822833925</c:v>
                </c:pt>
                <c:pt idx="41">
                  <c:v>0.7659287849547811</c:v>
                </c:pt>
                <c:pt idx="42">
                  <c:v>0.7943183345588526</c:v>
                </c:pt>
                <c:pt idx="43">
                  <c:v>0.6971547944335006</c:v>
                </c:pt>
                <c:pt idx="44">
                  <c:v>0.6737360027146251</c:v>
                </c:pt>
                <c:pt idx="45">
                  <c:v>0.6535216502508826</c:v>
                </c:pt>
                <c:pt idx="46">
                  <c:v>0.8113491312181269</c:v>
                </c:pt>
                <c:pt idx="47">
                  <c:v>0.8116914557201436</c:v>
                </c:pt>
                <c:pt idx="48">
                  <c:v>0.8292556312914728</c:v>
                </c:pt>
                <c:pt idx="49">
                  <c:v>0.8197773473055289</c:v>
                </c:pt>
                <c:pt idx="50">
                  <c:v>0.7854962941432931</c:v>
                </c:pt>
                <c:pt idx="51">
                  <c:v>0.8792228550146646</c:v>
                </c:pt>
                <c:pt idx="52">
                  <c:v>0.9200530328140537</c:v>
                </c:pt>
                <c:pt idx="53">
                  <c:v>0.8602541553770341</c:v>
                </c:pt>
                <c:pt idx="54">
                  <c:v>0.9159418240105602</c:v>
                </c:pt>
                <c:pt idx="55">
                  <c:v>0.735888986068595</c:v>
                </c:pt>
                <c:pt idx="56">
                  <c:v>0.6227909111774156</c:v>
                </c:pt>
                <c:pt idx="57">
                  <c:v>0.6921868748981316</c:v>
                </c:pt>
                <c:pt idx="58">
                  <c:v>0.7345364965458149</c:v>
                </c:pt>
                <c:pt idx="59">
                  <c:v>0.9273636497577633</c:v>
                </c:pt>
                <c:pt idx="60">
                  <c:v>0.7246113145187576</c:v>
                </c:pt>
                <c:pt idx="61">
                  <c:v>0.6939722149571531</c:v>
                </c:pt>
                <c:pt idx="62">
                  <c:v>0.6855119104679738</c:v>
                </c:pt>
                <c:pt idx="63">
                  <c:v>0.8779855938131808</c:v>
                </c:pt>
                <c:pt idx="64">
                  <c:v>0.8464369914061906</c:v>
                </c:pt>
                <c:pt idx="65">
                  <c:v>0.7277676387217024</c:v>
                </c:pt>
                <c:pt idx="66">
                  <c:v>0.6275518452652156</c:v>
                </c:pt>
                <c:pt idx="67">
                  <c:v>0.8588265206921823</c:v>
                </c:pt>
                <c:pt idx="68">
                  <c:v>0.8422331917958259</c:v>
                </c:pt>
                <c:pt idx="69">
                  <c:v>0.9096654332887658</c:v>
                </c:pt>
                <c:pt idx="70">
                  <c:v>0.8664036338831701</c:v>
                </c:pt>
                <c:pt idx="71">
                  <c:v>0.8702579067749823</c:v>
                </c:pt>
                <c:pt idx="72">
                  <c:v>0.8794587849957108</c:v>
                </c:pt>
                <c:pt idx="73">
                  <c:v>0.856051278894395</c:v>
                </c:pt>
                <c:pt idx="74">
                  <c:v>0.5464024716297308</c:v>
                </c:pt>
                <c:pt idx="75">
                  <c:v>0.6374325484424822</c:v>
                </c:pt>
                <c:pt idx="76">
                  <c:v>0.8230451733003746</c:v>
                </c:pt>
                <c:pt idx="77">
                  <c:v>0.8647289368161121</c:v>
                </c:pt>
                <c:pt idx="78">
                  <c:v>0.8741370894637752</c:v>
                </c:pt>
                <c:pt idx="79">
                  <c:v>0.7745898753784412</c:v>
                </c:pt>
                <c:pt idx="80">
                  <c:v>0.729086264064793</c:v>
                </c:pt>
                <c:pt idx="81">
                  <c:v>0.9116882398495408</c:v>
                </c:pt>
                <c:pt idx="82">
                  <c:v>0.8172410242328549</c:v>
                </c:pt>
                <c:pt idx="83">
                  <c:v>0.6552653854594476</c:v>
                </c:pt>
                <c:pt idx="84">
                  <c:v>0.6195988416724304</c:v>
                </c:pt>
                <c:pt idx="85">
                  <c:v>0.7649923239301477</c:v>
                </c:pt>
                <c:pt idx="86">
                  <c:v>0.8387880067567567</c:v>
                </c:pt>
                <c:pt idx="87">
                  <c:v>0.7796620579000298</c:v>
                </c:pt>
                <c:pt idx="88">
                  <c:v>0.6940769052409553</c:v>
                </c:pt>
                <c:pt idx="89">
                  <c:v>0.7966658717620057</c:v>
                </c:pt>
                <c:pt idx="90">
                  <c:v>0.833306993580626</c:v>
                </c:pt>
                <c:pt idx="91">
                  <c:v>0.815254862850726</c:v>
                </c:pt>
                <c:pt idx="92">
                  <c:v>0.7666964795139478</c:v>
                </c:pt>
                <c:pt idx="93">
                  <c:v>0.8127600319255524</c:v>
                </c:pt>
                <c:pt idx="94">
                  <c:v>0.7622551663558891</c:v>
                </c:pt>
                <c:pt idx="95">
                  <c:v>0.6838021796435455</c:v>
                </c:pt>
                <c:pt idx="96">
                  <c:v>0.6157425272344088</c:v>
                </c:pt>
                <c:pt idx="97">
                  <c:v>0.7425461535023022</c:v>
                </c:pt>
                <c:pt idx="98">
                  <c:v>0.7143767319398494</c:v>
                </c:pt>
                <c:pt idx="99">
                  <c:v>0.7695852534562212</c:v>
                </c:pt>
                <c:pt idx="100">
                  <c:v>0.7239360009696822</c:v>
                </c:pt>
                <c:pt idx="101">
                  <c:v>0.7745793461080269</c:v>
                </c:pt>
                <c:pt idx="102">
                  <c:v>0.6763309172706823</c:v>
                </c:pt>
                <c:pt idx="103">
                  <c:v>0.6767696173737963</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0.6625523600835097</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0.6625523600835097</c:v>
                </c:pt>
                <c:pt idx="1">
                  <c:v>0.6625523600835097</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0.6708430700595298</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0.6708430700595298</c:v>
                </c:pt>
                <c:pt idx="1">
                  <c:v>0.6708430700595298</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0.84008370791678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0.8400837079167859</c:v>
                </c:pt>
                <c:pt idx="1">
                  <c:v>0.84008370791678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0.9448410461031358</c:v>
                </c:pt>
                <c:pt idx="1">
                  <c:v>0.8898311495112666</c:v>
                </c:pt>
                <c:pt idx="2">
                  <c:v>0.9615768113913865</c:v>
                </c:pt>
                <c:pt idx="3">
                  <c:v>0.7163039962232151</c:v>
                </c:pt>
                <c:pt idx="4">
                  <c:v>0.633306980067809</c:v>
                </c:pt>
                <c:pt idx="5">
                  <c:v>0.706610672090171</c:v>
                </c:pt>
                <c:pt idx="6">
                  <c:v>0.8610809919936158</c:v>
                </c:pt>
                <c:pt idx="7">
                  <c:v>0.8466914948900053</c:v>
                </c:pt>
                <c:pt idx="8">
                  <c:v>0.8039926137421638</c:v>
                </c:pt>
                <c:pt idx="9">
                  <c:v>0.6000094776997622</c:v>
                </c:pt>
                <c:pt idx="10">
                  <c:v>0.6499486774575602</c:v>
                </c:pt>
                <c:pt idx="11">
                  <c:v>0.8385355244819507</c:v>
                </c:pt>
                <c:pt idx="12">
                  <c:v>0.7773627913782083</c:v>
                </c:pt>
                <c:pt idx="13">
                  <c:v>0.6744794932898532</c:v>
                </c:pt>
                <c:pt idx="14">
                  <c:v>0.6610159174605107</c:v>
                </c:pt>
                <c:pt idx="15">
                  <c:v>0.8224557734740792</c:v>
                </c:pt>
                <c:pt idx="16">
                  <c:v>0.8836811284987375</c:v>
                </c:pt>
                <c:pt idx="17">
                  <c:v>0.7979353224103547</c:v>
                </c:pt>
                <c:pt idx="18">
                  <c:v>0.7594205879328328</c:v>
                </c:pt>
                <c:pt idx="19">
                  <c:v>0.7951725245234836</c:v>
                </c:pt>
                <c:pt idx="20">
                  <c:v>0.7866674777398432</c:v>
                </c:pt>
                <c:pt idx="21">
                  <c:v>0.8285466284948529</c:v>
                </c:pt>
                <c:pt idx="22">
                  <c:v>0.9033217610224257</c:v>
                </c:pt>
                <c:pt idx="23">
                  <c:v>0.7636507713157914</c:v>
                </c:pt>
                <c:pt idx="24">
                  <c:v>0.6071433948061723</c:v>
                </c:pt>
                <c:pt idx="25">
                  <c:v>0.6490451316497728</c:v>
                </c:pt>
                <c:pt idx="26">
                  <c:v>0.9395436425444496</c:v>
                </c:pt>
                <c:pt idx="27">
                  <c:v>0.8046422893481717</c:v>
                </c:pt>
                <c:pt idx="28">
                  <c:v>0.8512536181662522</c:v>
                </c:pt>
                <c:pt idx="29">
                  <c:v>0.6338853732614017</c:v>
                </c:pt>
                <c:pt idx="30">
                  <c:v>0.6791414467372534</c:v>
                </c:pt>
                <c:pt idx="31">
                  <c:v>0.638072668569929</c:v>
                </c:pt>
                <c:pt idx="32">
                  <c:v>0.6179208451351144</c:v>
                </c:pt>
                <c:pt idx="33">
                  <c:v>0.824628164556962</c:v>
                </c:pt>
                <c:pt idx="34">
                  <c:v>0.8090878737760798</c:v>
                </c:pt>
                <c:pt idx="35">
                  <c:v>0.8249829611196526</c:v>
                </c:pt>
                <c:pt idx="36">
                  <c:v>0.7571619629477652</c:v>
                </c:pt>
                <c:pt idx="37">
                  <c:v>0.7386325336848492</c:v>
                </c:pt>
                <c:pt idx="38">
                  <c:v>0.8654760256587751</c:v>
                </c:pt>
                <c:pt idx="39">
                  <c:v>0.8413936119741051</c:v>
                </c:pt>
                <c:pt idx="40">
                  <c:v>0.780067721309073</c:v>
                </c:pt>
                <c:pt idx="41">
                  <c:v>0.8869007541071909</c:v>
                </c:pt>
                <c:pt idx="42">
                  <c:v>0.8292631062402879</c:v>
                </c:pt>
                <c:pt idx="43">
                  <c:v>0.7484668486113342</c:v>
                </c:pt>
                <c:pt idx="44">
                  <c:v>0.743674316330639</c:v>
                </c:pt>
                <c:pt idx="45">
                  <c:v>0.8196156240273886</c:v>
                </c:pt>
                <c:pt idx="46">
                  <c:v>0.8114942884083286</c:v>
                </c:pt>
                <c:pt idx="47">
                  <c:v>0.8346097641217111</c:v>
                </c:pt>
                <c:pt idx="48">
                  <c:v>0.7661844455529988</c:v>
                </c:pt>
                <c:pt idx="49">
                  <c:v>0.844521454417491</c:v>
                </c:pt>
                <c:pt idx="50">
                  <c:v>0.6708155404515194</c:v>
                </c:pt>
                <c:pt idx="51">
                  <c:v>0.701215758694983</c:v>
                </c:pt>
                <c:pt idx="52">
                  <c:v>0.6708430700595298</c:v>
                </c:pt>
                <c:pt idx="53">
                  <c:v>0.6625523600835097</c:v>
                </c:pt>
                <c:pt idx="54">
                  <c:v>0.8400837079167859</c:v>
                </c:pt>
              </c:numCache>
            </c:numRef>
          </c:xVal>
          <c:yVal>
            <c:numRef>
              <c:f>Sheet1!$B$186:$B$240</c:f>
              <c:numCache>
                <c:formatCode>General</c:formatCode>
                <c:ptCount val="55"/>
                <c:pt idx="0">
                  <c:v>0.017091475992407484</c:v>
                </c:pt>
                <c:pt idx="1">
                  <c:v>0.02970002073469749</c:v>
                </c:pt>
                <c:pt idx="2">
                  <c:v>0.013255554485429727</c:v>
                </c:pt>
                <c:pt idx="3">
                  <c:v>0.069473316301263</c:v>
                </c:pt>
                <c:pt idx="4">
                  <c:v>0.08849664949230704</c:v>
                </c:pt>
                <c:pt idx="5">
                  <c:v>0.07169507490480617</c:v>
                </c:pt>
                <c:pt idx="6">
                  <c:v>0.03628970131705958</c:v>
                </c:pt>
                <c:pt idx="7">
                  <c:v>0.03958784636532245</c:v>
                </c:pt>
                <c:pt idx="8">
                  <c:v>0.049374644500803005</c:v>
                </c:pt>
                <c:pt idx="9">
                  <c:v>0.0961286043663338</c:v>
                </c:pt>
                <c:pt idx="10">
                  <c:v>0.08468228882038853</c:v>
                </c:pt>
                <c:pt idx="11">
                  <c:v>0.04145723576937288</c:v>
                </c:pt>
                <c:pt idx="12">
                  <c:v>0.05547833361053306</c:v>
                </c:pt>
                <c:pt idx="13">
                  <c:v>0.079059702555937</c:v>
                </c:pt>
                <c:pt idx="14">
                  <c:v>0.08214562179506843</c:v>
                </c:pt>
                <c:pt idx="15">
                  <c:v>0.04514279550659292</c:v>
                </c:pt>
                <c:pt idx="16">
                  <c:v>0.031109636456715772</c:v>
                </c:pt>
                <c:pt idx="17">
                  <c:v>0.05076300611400206</c:v>
                </c:pt>
                <c:pt idx="18">
                  <c:v>0.05959077680588573</c:v>
                </c:pt>
                <c:pt idx="19">
                  <c:v>0.051396253273671616</c:v>
                </c:pt>
                <c:pt idx="20">
                  <c:v>0.053345652737233795</c:v>
                </c:pt>
                <c:pt idx="21">
                  <c:v>0.0437467409272142</c:v>
                </c:pt>
                <c:pt idx="22">
                  <c:v>0.02660790478143024</c:v>
                </c:pt>
                <c:pt idx="23">
                  <c:v>0.05862119751640188</c:v>
                </c:pt>
                <c:pt idx="24">
                  <c:v>0.09449347471518565</c:v>
                </c:pt>
                <c:pt idx="25">
                  <c:v>0.08488938606015828</c:v>
                </c:pt>
                <c:pt idx="26">
                  <c:v>0.018305667509312368</c:v>
                </c:pt>
                <c:pt idx="27">
                  <c:v>0.04922573558706517</c:v>
                </c:pt>
                <c:pt idx="28">
                  <c:v>0.038542184784186084</c:v>
                </c:pt>
                <c:pt idx="29">
                  <c:v>0.08836407886571312</c:v>
                </c:pt>
                <c:pt idx="30">
                  <c:v>0.07799115939789175</c:v>
                </c:pt>
                <c:pt idx="31">
                  <c:v>0.08740432973841608</c:v>
                </c:pt>
                <c:pt idx="32">
                  <c:v>0.09202322893943993</c:v>
                </c:pt>
                <c:pt idx="33">
                  <c:v>0.04464487255339239</c:v>
                </c:pt>
                <c:pt idx="34">
                  <c:v>0.048206785295615395</c:v>
                </c:pt>
                <c:pt idx="35">
                  <c:v>0.04456355139825033</c:v>
                </c:pt>
                <c:pt idx="36">
                  <c:v>0.060108465002821715</c:v>
                </c:pt>
                <c:pt idx="37">
                  <c:v>0.06435550330656406</c:v>
                </c:pt>
                <c:pt idx="38">
                  <c:v>0.035282337514466605</c:v>
                </c:pt>
                <c:pt idx="39">
                  <c:v>0.040802147753309675</c:v>
                </c:pt>
                <c:pt idx="40">
                  <c:v>0.054858350077186285</c:v>
                </c:pt>
                <c:pt idx="41">
                  <c:v>0.03037168208754487</c:v>
                </c:pt>
                <c:pt idx="42">
                  <c:v>0.043582520627416244</c:v>
                </c:pt>
                <c:pt idx="43">
                  <c:v>0.062101428904637546</c:v>
                </c:pt>
                <c:pt idx="44">
                  <c:v>0.06319990138747705</c:v>
                </c:pt>
                <c:pt idx="45">
                  <c:v>0.04579377203249099</c:v>
                </c:pt>
                <c:pt idx="46">
                  <c:v>0.04765522296885227</c:v>
                </c:pt>
                <c:pt idx="47">
                  <c:v>0.042357039772220356</c:v>
                </c:pt>
                <c:pt idx="48">
                  <c:v>0.058040466648659444</c:v>
                </c:pt>
                <c:pt idx="49">
                  <c:v>0.0400852305468139</c:v>
                </c:pt>
                <c:pt idx="50">
                  <c:v>0.07989949895909187</c:v>
                </c:pt>
                <c:pt idx="51">
                  <c:v>0.07293161616625732</c:v>
                </c:pt>
                <c:pt idx="52">
                  <c:v>0.07989318903459022</c:v>
                </c:pt>
                <c:pt idx="53">
                  <c:v>0.08179346142473048</c:v>
                </c:pt>
                <c:pt idx="54">
                  <c:v>0.0411023843459605</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1.0"/>
          <c:min val="0.0"/>
        </c:scaling>
        <c:delete val="0"/>
        <c:axPos val="b"/>
        <c:title>
          <c:tx>
            <c:rich>
              <a:bodyPr rot="0" spcFirstLastPara="1" vertOverflow="ellipsis" vert="horz" wrap="square" anchor="ctr" anchorCtr="1"/>
              <a:lstStyle/>
              <a:p>
                <a:pPr>
                  <a:defRPr sz="800" b="0">
                    <a:solidFill>
                      <a:srgbClr val="575555"/>
                    </a:solidFill>
                    <a:latin typeface="Nexa Bold"/>
                  </a:defRPr>
                </a:pPr>
                <a:r>
                  <a:t>Price Ix vs. Soignon</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0.1703</c:v>
                </c:pt>
                <c:pt idx="1">
                  <c:v>10.1468</c:v>
                </c:pt>
                <c:pt idx="2">
                  <c:v>10.1678</c:v>
                </c:pt>
                <c:pt idx="3">
                  <c:v>8.0227</c:v>
                </c:pt>
                <c:pt idx="4">
                  <c:v>9.2229</c:v>
                </c:pt>
                <c:pt idx="5">
                  <c:v>8.6319</c:v>
                </c:pt>
                <c:pt idx="6">
                  <c:v>8.4877</c:v>
                </c:pt>
                <c:pt idx="7">
                  <c:v>8.6488</c:v>
                </c:pt>
                <c:pt idx="8">
                  <c:v>8.3555</c:v>
                </c:pt>
                <c:pt idx="9">
                  <c:v>10.5777</c:v>
                </c:pt>
                <c:pt idx="10">
                  <c:v>10.1224</c:v>
                </c:pt>
                <c:pt idx="11">
                  <c:v>10.1242</c:v>
                </c:pt>
                <c:pt idx="12">
                  <c:v>10.3076</c:v>
                </c:pt>
                <c:pt idx="13">
                  <c:v>8.6291</c:v>
                </c:pt>
                <c:pt idx="14">
                  <c:v>8.0617</c:v>
                </c:pt>
                <c:pt idx="15">
                  <c:v>9.8133</c:v>
                </c:pt>
                <c:pt idx="16">
                  <c:v>9.7178</c:v>
                </c:pt>
                <c:pt idx="17">
                  <c:v>9.9825</c:v>
                </c:pt>
                <c:pt idx="18">
                  <c:v>9.8923</c:v>
                </c:pt>
                <c:pt idx="19">
                  <c:v>9.8544</c:v>
                </c:pt>
                <c:pt idx="20">
                  <c:v>10.5983</c:v>
                </c:pt>
                <c:pt idx="21">
                  <c:v>10.7664</c:v>
                </c:pt>
                <c:pt idx="22">
                  <c:v>10.1902</c:v>
                </c:pt>
                <c:pt idx="23">
                  <c:v>8.9567</c:v>
                </c:pt>
                <c:pt idx="24">
                  <c:v>7.545</c:v>
                </c:pt>
                <c:pt idx="25">
                  <c:v>8.4062</c:v>
                </c:pt>
                <c:pt idx="26">
                  <c:v>10.3685</c:v>
                </c:pt>
                <c:pt idx="27">
                  <c:v>10.3098</c:v>
                </c:pt>
                <c:pt idx="28">
                  <c:v>11.4036</c:v>
                </c:pt>
                <c:pt idx="29">
                  <c:v>11.2464</c:v>
                </c:pt>
                <c:pt idx="30">
                  <c:v>11.7684</c:v>
                </c:pt>
                <c:pt idx="31">
                  <c:v>9.5755</c:v>
                </c:pt>
                <c:pt idx="32">
                  <c:v>7.5955</c:v>
                </c:pt>
                <c:pt idx="33">
                  <c:v>7.731</c:v>
                </c:pt>
                <c:pt idx="34">
                  <c:v>8.9105</c:v>
                </c:pt>
                <c:pt idx="35">
                  <c:v>10.0444</c:v>
                </c:pt>
                <c:pt idx="36">
                  <c:v>10.6873</c:v>
                </c:pt>
                <c:pt idx="37">
                  <c:v>10.6927</c:v>
                </c:pt>
                <c:pt idx="38">
                  <c:v>10.9367</c:v>
                </c:pt>
                <c:pt idx="39">
                  <c:v>11.4333</c:v>
                </c:pt>
                <c:pt idx="40">
                  <c:v>10.1495</c:v>
                </c:pt>
                <c:pt idx="41">
                  <c:v>10.1206</c:v>
                </c:pt>
                <c:pt idx="42">
                  <c:v>10.0463</c:v>
                </c:pt>
                <c:pt idx="43">
                  <c:v>8.7769</c:v>
                </c:pt>
                <c:pt idx="44">
                  <c:v>9.1333</c:v>
                </c:pt>
                <c:pt idx="45">
                  <c:v>8.7915</c:v>
                </c:pt>
                <c:pt idx="46">
                  <c:v>10.6277</c:v>
                </c:pt>
                <c:pt idx="47">
                  <c:v>10.7291</c:v>
                </c:pt>
                <c:pt idx="48">
                  <c:v>11.0223</c:v>
                </c:pt>
                <c:pt idx="49">
                  <c:v>10.5375</c:v>
                </c:pt>
                <c:pt idx="50">
                  <c:v>10.2695</c:v>
                </c:pt>
                <c:pt idx="51">
                  <c:v>11.3316</c:v>
                </c:pt>
                <c:pt idx="52">
                  <c:v>11.1032</c:v>
                </c:pt>
                <c:pt idx="53">
                  <c:v>10.8583</c:v>
                </c:pt>
                <c:pt idx="54">
                  <c:v>11.6571</c:v>
                </c:pt>
                <c:pt idx="55">
                  <c:v>9.4235</c:v>
                </c:pt>
                <c:pt idx="56">
                  <c:v>8.1405</c:v>
                </c:pt>
                <c:pt idx="57">
                  <c:v>9.343</c:v>
                </c:pt>
                <c:pt idx="58">
                  <c:v>9.6012</c:v>
                </c:pt>
                <c:pt idx="59">
                  <c:v>10.7002</c:v>
                </c:pt>
                <c:pt idx="60">
                  <c:v>9.559</c:v>
                </c:pt>
                <c:pt idx="61">
                  <c:v>9.0215</c:v>
                </c:pt>
                <c:pt idx="62">
                  <c:v>9.0103</c:v>
                </c:pt>
                <c:pt idx="63">
                  <c:v>11.4211</c:v>
                </c:pt>
                <c:pt idx="64">
                  <c:v>11.1298</c:v>
                </c:pt>
                <c:pt idx="65">
                  <c:v>9.3711</c:v>
                </c:pt>
                <c:pt idx="66">
                  <c:v>8.5396</c:v>
                </c:pt>
                <c:pt idx="67">
                  <c:v>11.4844</c:v>
                </c:pt>
                <c:pt idx="68">
                  <c:v>11.2268</c:v>
                </c:pt>
                <c:pt idx="69">
                  <c:v>11.7023</c:v>
                </c:pt>
                <c:pt idx="70">
                  <c:v>11.1773</c:v>
                </c:pt>
                <c:pt idx="71">
                  <c:v>11.034</c:v>
                </c:pt>
                <c:pt idx="72">
                  <c:v>11.2773</c:v>
                </c:pt>
                <c:pt idx="73">
                  <c:v>11.1249</c:v>
                </c:pt>
                <c:pt idx="74">
                  <c:v>7.3572</c:v>
                </c:pt>
                <c:pt idx="75">
                  <c:v>8.3162</c:v>
                </c:pt>
                <c:pt idx="76">
                  <c:v>10.7879</c:v>
                </c:pt>
                <c:pt idx="77">
                  <c:v>11.451</c:v>
                </c:pt>
                <c:pt idx="78">
                  <c:v>11.2824</c:v>
                </c:pt>
                <c:pt idx="79">
                  <c:v>8.8012</c:v>
                </c:pt>
                <c:pt idx="80">
                  <c:v>9.3891</c:v>
                </c:pt>
                <c:pt idx="81">
                  <c:v>9.8889</c:v>
                </c:pt>
                <c:pt idx="82">
                  <c:v>9.5238</c:v>
                </c:pt>
                <c:pt idx="83">
                  <c:v>8.3604</c:v>
                </c:pt>
                <c:pt idx="84">
                  <c:v>8.152</c:v>
                </c:pt>
                <c:pt idx="85">
                  <c:v>9.5673</c:v>
                </c:pt>
                <c:pt idx="86">
                  <c:v>11.123</c:v>
                </c:pt>
                <c:pt idx="87">
                  <c:v>10.1558</c:v>
                </c:pt>
                <c:pt idx="88">
                  <c:v>9.2796</c:v>
                </c:pt>
                <c:pt idx="89">
                  <c:v>10.6903</c:v>
                </c:pt>
                <c:pt idx="90">
                  <c:v>11.0729</c:v>
                </c:pt>
                <c:pt idx="91">
                  <c:v>10.3817</c:v>
                </c:pt>
                <c:pt idx="92">
                  <c:v>9.9439</c:v>
                </c:pt>
                <c:pt idx="93">
                  <c:v>9.5722</c:v>
                </c:pt>
                <c:pt idx="94">
                  <c:v>9.8927</c:v>
                </c:pt>
                <c:pt idx="95">
                  <c:v>8.6901</c:v>
                </c:pt>
                <c:pt idx="96">
                  <c:v>8.2975</c:v>
                </c:pt>
                <c:pt idx="97">
                  <c:v>9.9669</c:v>
                </c:pt>
                <c:pt idx="98">
                  <c:v>9.3064</c:v>
                </c:pt>
                <c:pt idx="99">
                  <c:v>10.1369</c:v>
                </c:pt>
                <c:pt idx="100">
                  <c:v>9.5561</c:v>
                </c:pt>
                <c:pt idx="101">
                  <c:v>9.948</c:v>
                </c:pt>
                <c:pt idx="102">
                  <c:v>8.9298</c:v>
                </c:pt>
                <c:pt idx="103">
                  <c:v>8.8066</c:v>
                </c:pt>
              </c:numCache>
            </c:numRef>
          </c:xVal>
          <c:yVal>
            <c:numRef>
              <c:f>Sheet1!$B$2:$B$105</c:f>
              <c:numCache>
                <c:formatCode>General</c:formatCode>
                <c:ptCount val="104"/>
                <c:pt idx="0">
                  <c:v>0.02765148761468943</c:v>
                </c:pt>
                <c:pt idx="1">
                  <c:v>0.029431350681156605</c:v>
                </c:pt>
                <c:pt idx="2">
                  <c:v>0.030451440167695437</c:v>
                </c:pt>
                <c:pt idx="3">
                  <c:v>0.052379889447600865</c:v>
                </c:pt>
                <c:pt idx="4">
                  <c:v>0.0364137657859287</c:v>
                </c:pt>
                <c:pt idx="5">
                  <c:v>0.0549784280456135</c:v>
                </c:pt>
                <c:pt idx="6">
                  <c:v>0.05407567282804147</c:v>
                </c:pt>
                <c:pt idx="7">
                  <c:v>0.040773831972964636</c:v>
                </c:pt>
                <c:pt idx="8">
                  <c:v>0.065742990707236</c:v>
                </c:pt>
                <c:pt idx="9">
                  <c:v>0.07014715464353713</c:v>
                </c:pt>
                <c:pt idx="10">
                  <c:v>0.049932827952823444</c:v>
                </c:pt>
                <c:pt idx="11">
                  <c:v>0.03547583792973283</c:v>
                </c:pt>
                <c:pt idx="12">
                  <c:v>0.037057165200352085</c:v>
                </c:pt>
                <c:pt idx="13">
                  <c:v>0.0596153284719652</c:v>
                </c:pt>
                <c:pt idx="14">
                  <c:v>0.057062212002981505</c:v>
                </c:pt>
                <c:pt idx="15">
                  <c:v>0.06291032245031943</c:v>
                </c:pt>
                <c:pt idx="16">
                  <c:v>0.05053105617004234</c:v>
                </c:pt>
                <c:pt idx="17">
                  <c:v>0.04047104022541712</c:v>
                </c:pt>
                <c:pt idx="18">
                  <c:v>0.03335309677506774</c:v>
                </c:pt>
                <c:pt idx="19">
                  <c:v>0.0415831110350481</c:v>
                </c:pt>
                <c:pt idx="20">
                  <c:v>0.024704057214514217</c:v>
                </c:pt>
                <c:pt idx="21">
                  <c:v>0.020039880123373224</c:v>
                </c:pt>
                <c:pt idx="22">
                  <c:v>0.04016141067822687</c:v>
                </c:pt>
                <c:pt idx="23">
                  <c:v>0.03851610559449562</c:v>
                </c:pt>
                <c:pt idx="24">
                  <c:v>0.08004053271569195</c:v>
                </c:pt>
                <c:pt idx="25">
                  <c:v>0.06709156454941324</c:v>
                </c:pt>
                <c:pt idx="26">
                  <c:v>0.04636349206673602</c:v>
                </c:pt>
                <c:pt idx="27">
                  <c:v>0.055669802545546446</c:v>
                </c:pt>
                <c:pt idx="28">
                  <c:v>0.05831105437801824</c:v>
                </c:pt>
                <c:pt idx="29">
                  <c:v>0.048279592177161317</c:v>
                </c:pt>
                <c:pt idx="30">
                  <c:v>0.0374125616988878</c:v>
                </c:pt>
                <c:pt idx="31">
                  <c:v>0.05429400731975666</c:v>
                </c:pt>
                <c:pt idx="32">
                  <c:v>0.12524051652675455</c:v>
                </c:pt>
                <c:pt idx="33">
                  <c:v>0.14299734604042313</c:v>
                </c:pt>
                <c:pt idx="34">
                  <c:v>0.05995597361462105</c:v>
                </c:pt>
                <c:pt idx="35">
                  <c:v>0.07834342394065104</c:v>
                </c:pt>
                <c:pt idx="36">
                  <c:v>0.07074776114200323</c:v>
                </c:pt>
                <c:pt idx="37">
                  <c:v>0.05516256696223753</c:v>
                </c:pt>
                <c:pt idx="38">
                  <c:v>0.03336971452635808</c:v>
                </c:pt>
                <c:pt idx="39">
                  <c:v>0.03804502809372823</c:v>
                </c:pt>
                <c:pt idx="40">
                  <c:v>0.047155820332330206</c:v>
                </c:pt>
                <c:pt idx="41">
                  <c:v>0.04530821512835962</c:v>
                </c:pt>
                <c:pt idx="42">
                  <c:v>0.04454364932951008</c:v>
                </c:pt>
                <c:pt idx="43">
                  <c:v>0.05777309580691887</c:v>
                </c:pt>
                <c:pt idx="44">
                  <c:v>0.06684880305930367</c:v>
                </c:pt>
                <c:pt idx="45">
                  <c:v>0.06105892309875888</c:v>
                </c:pt>
                <c:pt idx="46">
                  <c:v>0.03317703828245164</c:v>
                </c:pt>
                <c:pt idx="47">
                  <c:v>0.03995266851764398</c:v>
                </c:pt>
                <c:pt idx="48">
                  <c:v>0.03385672469110449</c:v>
                </c:pt>
                <c:pt idx="49">
                  <c:v>0.0350373017641959</c:v>
                </c:pt>
                <c:pt idx="50">
                  <c:v>0.0461273987062059</c:v>
                </c:pt>
                <c:pt idx="51">
                  <c:v>0.030053472502348407</c:v>
                </c:pt>
                <c:pt idx="52">
                  <c:v>0.03318100558504257</c:v>
                </c:pt>
                <c:pt idx="53">
                  <c:v>0.035297324160081994</c:v>
                </c:pt>
                <c:pt idx="54">
                  <c:v>0.027834453410936048</c:v>
                </c:pt>
                <c:pt idx="55">
                  <c:v>0.026958140577257</c:v>
                </c:pt>
                <c:pt idx="56">
                  <c:v>0.0522158999668453</c:v>
                </c:pt>
                <c:pt idx="57">
                  <c:v>0.05735548305237272</c:v>
                </c:pt>
                <c:pt idx="58">
                  <c:v>0.0512417041794922</c:v>
                </c:pt>
                <c:pt idx="59">
                  <c:v>0.037512479508954436</c:v>
                </c:pt>
                <c:pt idx="60">
                  <c:v>0.07087984512089632</c:v>
                </c:pt>
                <c:pt idx="61">
                  <c:v>0.05215939702812972</c:v>
                </c:pt>
                <c:pt idx="62">
                  <c:v>0.0619728882720279</c:v>
                </c:pt>
                <c:pt idx="63">
                  <c:v>0.03845839766095021</c:v>
                </c:pt>
                <c:pt idx="64">
                  <c:v>0.04172588903570146</c:v>
                </c:pt>
                <c:pt idx="65">
                  <c:v>0.06356644243031348</c:v>
                </c:pt>
                <c:pt idx="66">
                  <c:v>0.07908356551417761</c:v>
                </c:pt>
                <c:pt idx="67">
                  <c:v>0.044712791183222925</c:v>
                </c:pt>
                <c:pt idx="68">
                  <c:v>0.04535676142672769</c:v>
                </c:pt>
                <c:pt idx="69">
                  <c:v>0.036345662449082265</c:v>
                </c:pt>
                <c:pt idx="70">
                  <c:v>0.04530323329711058</c:v>
                </c:pt>
                <c:pt idx="71">
                  <c:v>0.04764709044418574</c:v>
                </c:pt>
                <c:pt idx="72">
                  <c:v>0.042307145237060695</c:v>
                </c:pt>
                <c:pt idx="73">
                  <c:v>0.045932413966394664</c:v>
                </c:pt>
                <c:pt idx="74">
                  <c:v>0.0940974103167565</c:v>
                </c:pt>
                <c:pt idx="75">
                  <c:v>0.0933622640356751</c:v>
                </c:pt>
                <c:pt idx="76">
                  <c:v>0.04320124404032332</c:v>
                </c:pt>
                <c:pt idx="77">
                  <c:v>0.03779155164460735</c:v>
                </c:pt>
                <c:pt idx="78">
                  <c:v>0.04364851842882592</c:v>
                </c:pt>
                <c:pt idx="79">
                  <c:v>0.07190482197910812</c:v>
                </c:pt>
                <c:pt idx="80">
                  <c:v>0.06711076722199386</c:v>
                </c:pt>
                <c:pt idx="81">
                  <c:v>0.057838542173126666</c:v>
                </c:pt>
                <c:pt idx="82">
                  <c:v>0.13748737202431813</c:v>
                </c:pt>
                <c:pt idx="83">
                  <c:v>0.1594226227808356</c:v>
                </c:pt>
                <c:pt idx="84">
                  <c:v>0.1260737675590747</c:v>
                </c:pt>
                <c:pt idx="85">
                  <c:v>0.08850182374267851</c:v>
                </c:pt>
                <c:pt idx="86">
                  <c:v>0.04287429257417252</c:v>
                </c:pt>
                <c:pt idx="87">
                  <c:v>0.05966856020503011</c:v>
                </c:pt>
                <c:pt idx="88">
                  <c:v>0.07168523241643597</c:v>
                </c:pt>
                <c:pt idx="89">
                  <c:v>0.04133111259029938</c:v>
                </c:pt>
                <c:pt idx="90">
                  <c:v>0.02838046415857521</c:v>
                </c:pt>
                <c:pt idx="91">
                  <c:v>0.03803491609396299</c:v>
                </c:pt>
                <c:pt idx="92">
                  <c:v>0.04406513273561865</c:v>
                </c:pt>
                <c:pt idx="93">
                  <c:v>0.04804603437405936</c:v>
                </c:pt>
                <c:pt idx="94">
                  <c:v>0.04282120091696614</c:v>
                </c:pt>
                <c:pt idx="95">
                  <c:v>0.07397430122356746</c:v>
                </c:pt>
                <c:pt idx="96">
                  <c:v>0.07172162797579494</c:v>
                </c:pt>
                <c:pt idx="97">
                  <c:v>0.04214485612457244</c:v>
                </c:pt>
                <c:pt idx="98">
                  <c:v>0.04899993467232203</c:v>
                </c:pt>
                <c:pt idx="99">
                  <c:v>0.034621888440453656</c:v>
                </c:pt>
                <c:pt idx="100">
                  <c:v>0.03809918343907481</c:v>
                </c:pt>
                <c:pt idx="101">
                  <c:v>0.031000749478361504</c:v>
                </c:pt>
                <c:pt idx="102">
                  <c:v>0.06225395194447365</c:v>
                </c:pt>
                <c:pt idx="103">
                  <c:v>0.0419654722785244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numCache>
            </c:numRef>
          </c:xVal>
          <c:yVal>
            <c:numRef>
              <c:f>Sheet1!$B$108:$B$159</c:f>
              <c:numCache>
                <c:formatCode>General</c:formatCode>
                <c:ptCount val="52"/>
                <c:pt idx="0">
                  <c:v>0.018675984192950617</c:v>
                </c:pt>
                <c:pt idx="1">
                  <c:v>0.03350733076433625</c:v>
                </c:pt>
                <c:pt idx="2">
                  <c:v>0.03403272403091422</c:v>
                </c:pt>
                <c:pt idx="3">
                  <c:v>0.06073328463596201</c:v>
                </c:pt>
                <c:pt idx="4">
                  <c:v>0.0769340377332288</c:v>
                </c:pt>
                <c:pt idx="5">
                  <c:v>0.058221734721436616</c:v>
                </c:pt>
                <c:pt idx="6">
                  <c:v>0.05207535066403785</c:v>
                </c:pt>
                <c:pt idx="7">
                  <c:v>0.05062076741215081</c:v>
                </c:pt>
                <c:pt idx="8">
                  <c:v>0.05047919296906349</c:v>
                </c:pt>
                <c:pt idx="9">
                  <c:v>0.09168860550758852</c:v>
                </c:pt>
                <c:pt idx="10">
                  <c:v>0.0631006916515688</c:v>
                </c:pt>
                <c:pt idx="11">
                  <c:v>0.04395154389417447</c:v>
                </c:pt>
                <c:pt idx="12">
                  <c:v>0.04905040627679133</c:v>
                </c:pt>
                <c:pt idx="13">
                  <c:v>0.08571023771439366</c:v>
                </c:pt>
                <c:pt idx="14">
                  <c:v>0.07765920183211758</c:v>
                </c:pt>
                <c:pt idx="15">
                  <c:v>0.05249012584937819</c:v>
                </c:pt>
                <c:pt idx="16">
                  <c:v>0.04276148959040005</c:v>
                </c:pt>
                <c:pt idx="17">
                  <c:v>0.043576765504606485</c:v>
                </c:pt>
                <c:pt idx="18">
                  <c:v>0.050014637556185314</c:v>
                </c:pt>
                <c:pt idx="19">
                  <c:v>0.033161440204963054</c:v>
                </c:pt>
                <c:pt idx="20">
                  <c:v>0.03658355908535404</c:v>
                </c:pt>
                <c:pt idx="21">
                  <c:v>0.029954740352548834</c:v>
                </c:pt>
                <c:pt idx="22">
                  <c:v>0.028093524684376384</c:v>
                </c:pt>
                <c:pt idx="23">
                  <c:v>0.051684381531803734</c:v>
                </c:pt>
                <c:pt idx="24">
                  <c:v>0.09823513620071282</c:v>
                </c:pt>
                <c:pt idx="25">
                  <c:v>0.07133869150054063</c:v>
                </c:pt>
                <c:pt idx="26">
                  <c:v>0.040212201989737704</c:v>
                </c:pt>
                <c:pt idx="27">
                  <c:v>0.06064754280036118</c:v>
                </c:pt>
                <c:pt idx="28">
                  <c:v>0.05242570931303163</c:v>
                </c:pt>
                <c:pt idx="29">
                  <c:v>0.1517172330398459</c:v>
                </c:pt>
                <c:pt idx="30">
                  <c:v>0.1491285581268561</c:v>
                </c:pt>
                <c:pt idx="31">
                  <c:v>0.13787659453644438</c:v>
                </c:pt>
                <c:pt idx="32">
                  <c:v>0.1023598813236007</c:v>
                </c:pt>
                <c:pt idx="33">
                  <c:v>0.05196280631243662</c:v>
                </c:pt>
                <c:pt idx="34">
                  <c:v>0.042929196089925147</c:v>
                </c:pt>
                <c:pt idx="35">
                  <c:v>0.043692280734824236</c:v>
                </c:pt>
                <c:pt idx="36">
                  <c:v>0.05265705707859346</c:v>
                </c:pt>
                <c:pt idx="37">
                  <c:v>0.046050151472989506</c:v>
                </c:pt>
                <c:pt idx="38">
                  <c:v>0.03399387835359847</c:v>
                </c:pt>
                <c:pt idx="39">
                  <c:v>0.03370490699219443</c:v>
                </c:pt>
                <c:pt idx="40">
                  <c:v>0.05136121709151254</c:v>
                </c:pt>
                <c:pt idx="41">
                  <c:v>0.03813392138778723</c:v>
                </c:pt>
                <c:pt idx="42">
                  <c:v>0.028094540703409606</c:v>
                </c:pt>
                <c:pt idx="43">
                  <c:v>0.06311943984034096</c:v>
                </c:pt>
                <c:pt idx="44">
                  <c:v>0.0450802418335876</c:v>
                </c:pt>
                <c:pt idx="45">
                  <c:v>0.04051045947618084</c:v>
                </c:pt>
                <c:pt idx="46">
                  <c:v>0.030295361918610382</c:v>
                </c:pt>
                <c:pt idx="47">
                  <c:v>0.02714766548477775</c:v>
                </c:pt>
                <c:pt idx="48">
                  <c:v>0.041936747138178375</c:v>
                </c:pt>
                <c:pt idx="49">
                  <c:v>0.039436655250376894</c:v>
                </c:pt>
                <c:pt idx="50">
                  <c:v>0.05045466888230319</c:v>
                </c:pt>
                <c:pt idx="51">
                  <c:v>0.045055170498226584</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8.600821458522503</c:v>
                </c:pt>
              </c:numCache>
            </c:numRef>
          </c:xVal>
          <c:yVal>
            <c:numRef>
              <c:f>Sheet1!$B$162:$B$163</c:f>
              <c:numCache>
                <c:formatCode>General</c:formatCode>
                <c:ptCount val="2"/>
                <c:pt idx="0">
                  <c:v>0.08179346142473048</c:v>
                </c:pt>
                <c:pt idx="1">
                  <c:v>0.08179346142473048</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8.600821458522503</c:v>
                </c:pt>
                <c:pt idx="1">
                  <c:v>8.600821458522503</c:v>
                </c:pt>
              </c:numCache>
            </c:numRef>
          </c:xVal>
          <c:yVal>
            <c:numRef>
              <c:f>Sheet1!$B$166:$B$167</c:f>
              <c:numCache>
                <c:formatCode>General</c:formatCode>
                <c:ptCount val="2"/>
                <c:pt idx="0">
                  <c:v>0.08179346142473048</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8.690643690849686</c:v>
                </c:pt>
              </c:numCache>
            </c:numRef>
          </c:xVal>
          <c:yVal>
            <c:numRef>
              <c:f>Sheet1!$B$170:$B$171</c:f>
              <c:numCache>
                <c:formatCode>General</c:formatCode>
                <c:ptCount val="2"/>
                <c:pt idx="0">
                  <c:v>0.07989318903459022</c:v>
                </c:pt>
                <c:pt idx="1">
                  <c:v>0.0798931890345902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8.690643690849686</c:v>
                </c:pt>
                <c:pt idx="1">
                  <c:v>8.690643690849686</c:v>
                </c:pt>
              </c:numCache>
            </c:numRef>
          </c:xVal>
          <c:yVal>
            <c:numRef>
              <c:f>Sheet1!$B$174:$B$175</c:f>
              <c:numCache>
                <c:formatCode>General</c:formatCode>
                <c:ptCount val="2"/>
                <c:pt idx="0">
                  <c:v>0.0798931890345902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0.524210651554359</c:v>
                </c:pt>
              </c:numCache>
            </c:numRef>
          </c:xVal>
          <c:yVal>
            <c:numRef>
              <c:f>Sheet1!$B$178:$B$179</c:f>
              <c:numCache>
                <c:formatCode>General</c:formatCode>
                <c:ptCount val="2"/>
                <c:pt idx="0">
                  <c:v>0.04110238434596049</c:v>
                </c:pt>
                <c:pt idx="1">
                  <c:v>0.04110238434596049</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0.524210651554359</c:v>
                </c:pt>
                <c:pt idx="1">
                  <c:v>10.524210651554359</c:v>
                </c:pt>
              </c:numCache>
            </c:numRef>
          </c:xVal>
          <c:yVal>
            <c:numRef>
              <c:f>Sheet1!$B$182:$B$183</c:f>
              <c:numCache>
                <c:formatCode>General</c:formatCode>
                <c:ptCount val="2"/>
                <c:pt idx="0">
                  <c:v>0.04110238434596049</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0.8926</c:v>
                </c:pt>
                <c:pt idx="1">
                  <c:v>10.5873</c:v>
                </c:pt>
                <c:pt idx="2">
                  <c:v>10.9939</c:v>
                </c:pt>
                <c:pt idx="3">
                  <c:v>8.1933</c:v>
                </c:pt>
                <c:pt idx="4">
                  <c:v>8.3309</c:v>
                </c:pt>
                <c:pt idx="5">
                  <c:v>9.1027</c:v>
                </c:pt>
                <c:pt idx="6">
                  <c:v>9.9268</c:v>
                </c:pt>
                <c:pt idx="7">
                  <c:v>9.7759</c:v>
                </c:pt>
                <c:pt idx="8">
                  <c:v>10.3625</c:v>
                </c:pt>
                <c:pt idx="9">
                  <c:v>7.5969</c:v>
                </c:pt>
                <c:pt idx="10">
                  <c:v>8.2316</c:v>
                </c:pt>
                <c:pt idx="11">
                  <c:v>10.9501</c:v>
                </c:pt>
                <c:pt idx="12">
                  <c:v>10.0946</c:v>
                </c:pt>
                <c:pt idx="13">
                  <c:v>8.6042</c:v>
                </c:pt>
                <c:pt idx="14">
                  <c:v>8.6876</c:v>
                </c:pt>
                <c:pt idx="15">
                  <c:v>10.6976</c:v>
                </c:pt>
                <c:pt idx="16">
                  <c:v>11.5141</c:v>
                </c:pt>
                <c:pt idx="17">
                  <c:v>10.2028</c:v>
                </c:pt>
                <c:pt idx="18">
                  <c:v>10.3386</c:v>
                </c:pt>
                <c:pt idx="19">
                  <c:v>10.4003</c:v>
                </c:pt>
                <c:pt idx="20">
                  <c:v>10.3457</c:v>
                </c:pt>
                <c:pt idx="21">
                  <c:v>10.8818</c:v>
                </c:pt>
                <c:pt idx="22">
                  <c:v>11.2665</c:v>
                </c:pt>
                <c:pt idx="23">
                  <c:v>10.3115</c:v>
                </c:pt>
                <c:pt idx="24">
                  <c:v>8.0659</c:v>
                </c:pt>
                <c:pt idx="25">
                  <c:v>8.5611</c:v>
                </c:pt>
                <c:pt idx="26">
                  <c:v>11.5251</c:v>
                </c:pt>
                <c:pt idx="27">
                  <c:v>10.1224</c:v>
                </c:pt>
                <c:pt idx="28">
                  <c:v>10.4402</c:v>
                </c:pt>
                <c:pt idx="29">
                  <c:v>7.7431</c:v>
                </c:pt>
                <c:pt idx="30">
                  <c:v>7.7869</c:v>
                </c:pt>
                <c:pt idx="31">
                  <c:v>8.0237</c:v>
                </c:pt>
                <c:pt idx="32">
                  <c:v>8.0719</c:v>
                </c:pt>
                <c:pt idx="33">
                  <c:v>10.4233</c:v>
                </c:pt>
                <c:pt idx="34">
                  <c:v>10.42</c:v>
                </c:pt>
                <c:pt idx="35">
                  <c:v>10.4098</c:v>
                </c:pt>
                <c:pt idx="36">
                  <c:v>9.9641</c:v>
                </c:pt>
                <c:pt idx="37">
                  <c:v>9.862</c:v>
                </c:pt>
                <c:pt idx="38">
                  <c:v>11.2524</c:v>
                </c:pt>
                <c:pt idx="39">
                  <c:v>10.9955</c:v>
                </c:pt>
                <c:pt idx="40">
                  <c:v>10.1135</c:v>
                </c:pt>
                <c:pt idx="41">
                  <c:v>10.5378</c:v>
                </c:pt>
                <c:pt idx="42">
                  <c:v>10.1394</c:v>
                </c:pt>
                <c:pt idx="43">
                  <c:v>9.3244</c:v>
                </c:pt>
                <c:pt idx="44">
                  <c:v>9.605</c:v>
                </c:pt>
                <c:pt idx="45">
                  <c:v>10.5337</c:v>
                </c:pt>
                <c:pt idx="46">
                  <c:v>10.4996</c:v>
                </c:pt>
                <c:pt idx="47">
                  <c:v>10.9086</c:v>
                </c:pt>
                <c:pt idx="48">
                  <c:v>9.5226</c:v>
                </c:pt>
                <c:pt idx="49">
                  <c:v>11.0395</c:v>
                </c:pt>
                <c:pt idx="50">
                  <c:v>8.6556</c:v>
                </c:pt>
                <c:pt idx="51">
                  <c:v>9.113</c:v>
                </c:pt>
                <c:pt idx="52">
                  <c:v>8.690643690849686</c:v>
                </c:pt>
                <c:pt idx="53">
                  <c:v>8.600821458522503</c:v>
                </c:pt>
                <c:pt idx="54">
                  <c:v>10.524210651554359</c:v>
                </c:pt>
              </c:numCache>
            </c:numRef>
          </c:xVal>
          <c:yVal>
            <c:numRef>
              <c:f>Sheet1!$B$186:$B$240</c:f>
              <c:numCache>
                <c:formatCode>General</c:formatCode>
                <c:ptCount val="55"/>
                <c:pt idx="0">
                  <c:v>0.03330876700272775</c:v>
                </c:pt>
                <c:pt idx="1">
                  <c:v>0.039767670836208274</c:v>
                </c:pt>
                <c:pt idx="2">
                  <c:v>0.031165671823128738</c:v>
                </c:pt>
                <c:pt idx="3">
                  <c:v>0.09041495474499436</c:v>
                </c:pt>
                <c:pt idx="4">
                  <c:v>0.08750389949610177</c:v>
                </c:pt>
                <c:pt idx="5">
                  <c:v>0.07117575675558332</c:v>
                </c:pt>
                <c:pt idx="6">
                  <c:v>0.0537411591493884</c:v>
                </c:pt>
                <c:pt idx="7">
                  <c:v>0.056933588197774304</c:v>
                </c:pt>
                <c:pt idx="8">
                  <c:v>0.04452352272538751</c:v>
                </c:pt>
                <c:pt idx="9">
                  <c:v>0.10303234828016566</c:v>
                </c:pt>
                <c:pt idx="10">
                  <c:v>0.08960468282615291</c:v>
                </c:pt>
                <c:pt idx="11">
                  <c:v>0.032092301328226824</c:v>
                </c:pt>
                <c:pt idx="12">
                  <c:v>0.05019119497232313</c:v>
                </c:pt>
                <c:pt idx="13">
                  <c:v>0.08172198525538693</c:v>
                </c:pt>
                <c:pt idx="14">
                  <c:v>0.07995758112924128</c:v>
                </c:pt>
                <c:pt idx="15">
                  <c:v>0.037434172333643934</c:v>
                </c:pt>
                <c:pt idx="16">
                  <c:v>0.020160359755730883</c:v>
                </c:pt>
                <c:pt idx="17">
                  <c:v>0.047902123911784</c:v>
                </c:pt>
                <c:pt idx="18">
                  <c:v>0.04502914932748445</c:v>
                </c:pt>
                <c:pt idx="19">
                  <c:v>0.04372382876893302</c:v>
                </c:pt>
                <c:pt idx="20">
                  <c:v>0.04487894226158953</c:v>
                </c:pt>
                <c:pt idx="21">
                  <c:v>0.03353725099028618</c:v>
                </c:pt>
                <c:pt idx="22">
                  <c:v>0.025398566729755684</c:v>
                </c:pt>
                <c:pt idx="23">
                  <c:v>0.04560247488885791</c:v>
                </c:pt>
                <c:pt idx="24">
                  <c:v>0.09311021956119298</c:v>
                </c:pt>
                <c:pt idx="25">
                  <c:v>0.08263380561314329</c:v>
                </c:pt>
                <c:pt idx="26">
                  <c:v>0.019927644583217635</c:v>
                </c:pt>
                <c:pt idx="27">
                  <c:v>0.04960306026360789</c:v>
                </c:pt>
                <c:pt idx="28">
                  <c:v>0.04287970737045324</c:v>
                </c:pt>
                <c:pt idx="29">
                  <c:v>0.09993935207821725</c:v>
                </c:pt>
                <c:pt idx="30">
                  <c:v>0.09901272257311913</c:v>
                </c:pt>
                <c:pt idx="31">
                  <c:v>0.09400299958665276</c:v>
                </c:pt>
                <c:pt idx="32">
                  <c:v>0.09298328401254938</c:v>
                </c:pt>
                <c:pt idx="33">
                  <c:v>0.04323724249913266</c:v>
                </c:pt>
                <c:pt idx="34">
                  <c:v>0.04330705705088661</c:v>
                </c:pt>
                <c:pt idx="35">
                  <c:v>0.04352284748358068</c:v>
                </c:pt>
                <c:pt idx="36">
                  <c:v>0.052952043155320844</c:v>
                </c:pt>
                <c:pt idx="37">
                  <c:v>0.05511206307473901</c:v>
                </c:pt>
                <c:pt idx="38">
                  <c:v>0.025696865269068087</c:v>
                </c:pt>
                <c:pt idx="39">
                  <c:v>0.031131822343490462</c:v>
                </c:pt>
                <c:pt idx="40">
                  <c:v>0.04979134799409585</c:v>
                </c:pt>
                <c:pt idx="41">
                  <c:v>0.040814889112517766</c:v>
                </c:pt>
                <c:pt idx="42">
                  <c:v>0.0492434095424511</c:v>
                </c:pt>
                <c:pt idx="43">
                  <c:v>0.06648548823320324</c:v>
                </c:pt>
                <c:pt idx="44">
                  <c:v>0.060549135741638754</c:v>
                </c:pt>
                <c:pt idx="45">
                  <c:v>0.040901628404090895</c:v>
                </c:pt>
                <c:pt idx="46">
                  <c:v>0.04162304543888187</c:v>
                </c:pt>
                <c:pt idx="47">
                  <c:v>0.03297027220634488</c:v>
                </c:pt>
                <c:pt idx="48">
                  <c:v>0.06229238394301051</c:v>
                </c:pt>
                <c:pt idx="49">
                  <c:v>0.03020096165343758</c:v>
                </c:pt>
                <c:pt idx="50">
                  <c:v>0.080634570722007</c:v>
                </c:pt>
                <c:pt idx="51">
                  <c:v>0.07095785073041186</c:v>
                </c:pt>
                <c:pt idx="52">
                  <c:v>0.0798931890345902</c:v>
                </c:pt>
                <c:pt idx="53">
                  <c:v>0.08179346142473046</c:v>
                </c:pt>
                <c:pt idx="54">
                  <c:v>0.041102384345960474</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14.0"/>
          <c:min val="6.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19130714733700271"/>
          <c:min val="0.014940787354360495"/>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831755106902506</c:v>
                </c:pt>
                <c:pt idx="1">
                  <c:v>1.6795310944985764</c:v>
                </c:pt>
                <c:pt idx="2">
                  <c:v>1.6164303922007066</c:v>
                </c:pt>
                <c:pt idx="3">
                  <c:v>1.6294322749545334</c:v>
                </c:pt>
                <c:pt idx="4">
                  <c:v>1.6065441835866539</c:v>
                </c:pt>
                <c:pt idx="5">
                  <c:v>1.635007702721628</c:v>
                </c:pt>
                <c:pt idx="6">
                  <c:v>1.6405841660261338</c:v>
                </c:pt>
                <c:pt idx="7">
                  <c:v>1.2846326382872673</c:v>
                </c:pt>
                <c:pt idx="8">
                  <c:v>1.6577969483708312</c:v>
                </c:pt>
                <c:pt idx="9">
                  <c:v>1.6646067803631843</c:v>
                </c:pt>
                <c:pt idx="10">
                  <c:v>1.7128527610994657</c:v>
                </c:pt>
                <c:pt idx="11">
                  <c:v>1.4902101048793717</c:v>
                </c:pt>
                <c:pt idx="12">
                  <c:v>1.428576321497888</c:v>
                </c:pt>
                <c:pt idx="13">
                  <c:v>1.72568596466025</c:v>
                </c:pt>
                <c:pt idx="14">
                  <c:v>1.8233486010035354</c:v>
                </c:pt>
                <c:pt idx="15">
                  <c:v>1.8450325812098813</c:v>
                </c:pt>
                <c:pt idx="16">
                  <c:v>1.7693901428362504</c:v>
                </c:pt>
                <c:pt idx="17">
                  <c:v>1.6814092003548347</c:v>
                </c:pt>
                <c:pt idx="18">
                  <c:v>1.7146604724263856</c:v>
                </c:pt>
                <c:pt idx="19">
                  <c:v>1.6227146937550707</c:v>
                </c:pt>
                <c:pt idx="20">
                  <c:v>1.490913509870856</c:v>
                </c:pt>
                <c:pt idx="21">
                  <c:v>1.6960381624270546</c:v>
                </c:pt>
                <c:pt idx="22">
                  <c:v>1.6681624997032076</c:v>
                </c:pt>
                <c:pt idx="23">
                  <c:v>1.604589536035986</c:v>
                </c:pt>
                <c:pt idx="24">
                  <c:v>1.701486842575922</c:v>
                </c:pt>
                <c:pt idx="25">
                  <c:v>1.582347787998248</c:v>
                </c:pt>
                <c:pt idx="26">
                  <c:v>1.71501827966071</c:v>
                </c:pt>
                <c:pt idx="27">
                  <c:v>1.4476432103550747</c:v>
                </c:pt>
                <c:pt idx="28">
                  <c:v>1.5544251918856324</c:v>
                </c:pt>
                <c:pt idx="29">
                  <c:v>1.833068304139348</c:v>
                </c:pt>
                <c:pt idx="30">
                  <c:v>1.805360553963706</c:v>
                </c:pt>
                <c:pt idx="31">
                  <c:v>1.5447710564656945</c:v>
                </c:pt>
                <c:pt idx="32">
                  <c:v>1.6059408031346416</c:v>
                </c:pt>
                <c:pt idx="33">
                  <c:v>1.7783865460920916</c:v>
                </c:pt>
                <c:pt idx="34">
                  <c:v>1.588417462976129</c:v>
                </c:pt>
                <c:pt idx="35">
                  <c:v>1.7080246992823858</c:v>
                </c:pt>
                <c:pt idx="36">
                  <c:v>1.6919861011527217</c:v>
                </c:pt>
                <c:pt idx="37">
                  <c:v>1.738690763142258</c:v>
                </c:pt>
                <c:pt idx="38">
                  <c:v>1.7403492991529872</c:v>
                </c:pt>
                <c:pt idx="39">
                  <c:v>1.726542711455718</c:v>
                </c:pt>
                <c:pt idx="40">
                  <c:v>1.6816714471692722</c:v>
                </c:pt>
                <c:pt idx="41">
                  <c:v>1.6873374849776028</c:v>
                </c:pt>
                <c:pt idx="42">
                  <c:v>1.5413286341268786</c:v>
                </c:pt>
                <c:pt idx="43">
                  <c:v>1.706369112697494</c:v>
                </c:pt>
                <c:pt idx="44">
                  <c:v>1.6727753340786327</c:v>
                </c:pt>
                <c:pt idx="45">
                  <c:v>1.735361912968548</c:v>
                </c:pt>
                <c:pt idx="46">
                  <c:v>1.7397353819889032</c:v>
                </c:pt>
                <c:pt idx="47">
                  <c:v>1.626809294707749</c:v>
                </c:pt>
                <c:pt idx="48">
                  <c:v>1.8845581738673347</c:v>
                </c:pt>
                <c:pt idx="49">
                  <c:v>1.778445543577202</c:v>
                </c:pt>
                <c:pt idx="50">
                  <c:v>1.7660536041357335</c:v>
                </c:pt>
                <c:pt idx="51">
                  <c:v>1.8849440568055824</c:v>
                </c:pt>
                <c:pt idx="52">
                  <c:v>1.741373630460888</c:v>
                </c:pt>
                <c:pt idx="53">
                  <c:v>1.7806241872561768</c:v>
                </c:pt>
                <c:pt idx="54">
                  <c:v>1.7662962600884198</c:v>
                </c:pt>
                <c:pt idx="55">
                  <c:v>1.7209145221558402</c:v>
                </c:pt>
                <c:pt idx="56">
                  <c:v>1.746683272865111</c:v>
                </c:pt>
                <c:pt idx="57">
                  <c:v>1.775609808537857</c:v>
                </c:pt>
                <c:pt idx="58">
                  <c:v>1.815392098339634</c:v>
                </c:pt>
                <c:pt idx="59">
                  <c:v>1.7027067444294899</c:v>
                </c:pt>
                <c:pt idx="60">
                  <c:v>1.814373364414048</c:v>
                </c:pt>
                <c:pt idx="61">
                  <c:v>1.805081874647092</c:v>
                </c:pt>
                <c:pt idx="62">
                  <c:v>1.811213909714468</c:v>
                </c:pt>
                <c:pt idx="63">
                  <c:v>1.4696836555360284</c:v>
                </c:pt>
                <c:pt idx="64">
                  <c:v>1.6185541820766556</c:v>
                </c:pt>
                <c:pt idx="65">
                  <c:v>1.7819530766231684</c:v>
                </c:pt>
                <c:pt idx="66">
                  <c:v>1.6458521215995616</c:v>
                </c:pt>
                <c:pt idx="67">
                  <c:v>1.4899994620474475</c:v>
                </c:pt>
                <c:pt idx="68">
                  <c:v>1.7816924215786065</c:v>
                </c:pt>
                <c:pt idx="69">
                  <c:v>1.799846026432129</c:v>
                </c:pt>
                <c:pt idx="70">
                  <c:v>1.7298503456143883</c:v>
                </c:pt>
                <c:pt idx="71">
                  <c:v>1.568230054434486</c:v>
                </c:pt>
                <c:pt idx="72">
                  <c:v>1.5489381297488132</c:v>
                </c:pt>
                <c:pt idx="73">
                  <c:v>1.694502856900104</c:v>
                </c:pt>
                <c:pt idx="74">
                  <c:v>1.787125133419793</c:v>
                </c:pt>
                <c:pt idx="75">
                  <c:v>1.8359078951942798</c:v>
                </c:pt>
                <c:pt idx="76">
                  <c:v>1.8326398308007081</c:v>
                </c:pt>
                <c:pt idx="77">
                  <c:v>1.8348674562887761</c:v>
                </c:pt>
                <c:pt idx="78">
                  <c:v>1.7574364132777698</c:v>
                </c:pt>
                <c:pt idx="79">
                  <c:v>1.4608530849502501</c:v>
                </c:pt>
                <c:pt idx="80">
                  <c:v>1.5351088493073226</c:v>
                </c:pt>
                <c:pt idx="81">
                  <c:v>1.8011393942145102</c:v>
                </c:pt>
                <c:pt idx="82">
                  <c:v>1.7690143029658436</c:v>
                </c:pt>
                <c:pt idx="83">
                  <c:v>1.7360203990337302</c:v>
                </c:pt>
                <c:pt idx="84">
                  <c:v>1.6974189220397884</c:v>
                </c:pt>
                <c:pt idx="85">
                  <c:v>1.6253500897666069</c:v>
                </c:pt>
                <c:pt idx="86">
                  <c:v>1.5505866749382307</c:v>
                </c:pt>
                <c:pt idx="87">
                  <c:v>1.759600093415331</c:v>
                </c:pt>
                <c:pt idx="88">
                  <c:v>1.7817671506450046</c:v>
                </c:pt>
                <c:pt idx="89">
                  <c:v>1.7348019862203203</c:v>
                </c:pt>
                <c:pt idx="90">
                  <c:v>1.7288630683846677</c:v>
                </c:pt>
                <c:pt idx="91">
                  <c:v>1.7317256232867773</c:v>
                </c:pt>
                <c:pt idx="92">
                  <c:v>1.602816657089888</c:v>
                </c:pt>
                <c:pt idx="93">
                  <c:v>1.5416107742662446</c:v>
                </c:pt>
                <c:pt idx="94">
                  <c:v>1.7199918132560619</c:v>
                </c:pt>
                <c:pt idx="95">
                  <c:v>1.7825723920141305</c:v>
                </c:pt>
                <c:pt idx="96">
                  <c:v>1.7456555402615277</c:v>
                </c:pt>
                <c:pt idx="97">
                  <c:v>1.7123653351129755</c:v>
                </c:pt>
                <c:pt idx="98">
                  <c:v>1.4113007237494268</c:v>
                </c:pt>
                <c:pt idx="99">
                  <c:v>1.7142674125635224</c:v>
                </c:pt>
                <c:pt idx="100">
                  <c:v>1.6314538667101854</c:v>
                </c:pt>
                <c:pt idx="101">
                  <c:v>1.4165213005191148</c:v>
                </c:pt>
                <c:pt idx="102">
                  <c:v>1.5027061138920976</c:v>
                </c:pt>
                <c:pt idx="103">
                  <c:v>1.711873620926737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530660516225288</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530660516225288</c:v>
                </c:pt>
                <c:pt idx="1">
                  <c:v>1.5530660516225288</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530660516225288</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530660516225288</c:v>
                </c:pt>
                <c:pt idx="1">
                  <c:v>1.5530660516225288</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526863371128398</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526863371128398</c:v>
                </c:pt>
                <c:pt idx="1">
                  <c:v>1.7526863371128398</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7973796139953404</c:v>
                </c:pt>
                <c:pt idx="1">
                  <c:v>1.695182912974324</c:v>
                </c:pt>
                <c:pt idx="2">
                  <c:v>1.7133601087367527</c:v>
                </c:pt>
                <c:pt idx="3">
                  <c:v>1.5790984725184745</c:v>
                </c:pt>
                <c:pt idx="4">
                  <c:v>1.6917423679134473</c:v>
                </c:pt>
                <c:pt idx="5">
                  <c:v>1.7342874115677485</c:v>
                </c:pt>
                <c:pt idx="6">
                  <c:v>1.7665948348053284</c:v>
                </c:pt>
                <c:pt idx="7">
                  <c:v>1.6624772007798907</c:v>
                </c:pt>
                <c:pt idx="8">
                  <c:v>1.7181183711600816</c:v>
                </c:pt>
                <c:pt idx="9">
                  <c:v>1.7772169437846397</c:v>
                </c:pt>
                <c:pt idx="10">
                  <c:v>1.6688101858313027</c:v>
                </c:pt>
                <c:pt idx="11">
                  <c:v>1.3963686557655555</c:v>
                </c:pt>
                <c:pt idx="12">
                  <c:v>1.5353584498550972</c:v>
                </c:pt>
                <c:pt idx="13">
                  <c:v>1.714067481402763</c:v>
                </c:pt>
                <c:pt idx="14">
                  <c:v>1.52553694707236</c:v>
                </c:pt>
                <c:pt idx="15">
                  <c:v>1.510003484063051</c:v>
                </c:pt>
                <c:pt idx="16">
                  <c:v>1.687421078193298</c:v>
                </c:pt>
                <c:pt idx="17">
                  <c:v>1.6878997407087295</c:v>
                </c:pt>
                <c:pt idx="18">
                  <c:v>1.7051641572112688</c:v>
                </c:pt>
                <c:pt idx="19">
                  <c:v>1.4869987171621397</c:v>
                </c:pt>
                <c:pt idx="20">
                  <c:v>1.4615846666302625</c:v>
                </c:pt>
                <c:pt idx="21">
                  <c:v>1.6441566904554197</c:v>
                </c:pt>
                <c:pt idx="22">
                  <c:v>1.6758348216701846</c:v>
                </c:pt>
                <c:pt idx="23">
                  <c:v>1.7100647439670393</c:v>
                </c:pt>
                <c:pt idx="24">
                  <c:v>1.7424107192048748</c:v>
                </c:pt>
                <c:pt idx="25">
                  <c:v>1.777766359515409</c:v>
                </c:pt>
                <c:pt idx="26">
                  <c:v>1.6924780502062886</c:v>
                </c:pt>
                <c:pt idx="27">
                  <c:v>1.5832288849308442</c:v>
                </c:pt>
                <c:pt idx="28">
                  <c:v>1.5108385254413292</c:v>
                </c:pt>
                <c:pt idx="29">
                  <c:v>1.7115434647361574</c:v>
                </c:pt>
                <c:pt idx="30">
                  <c:v>1.719396488205221</c:v>
                </c:pt>
                <c:pt idx="31">
                  <c:v>1.6144116682013991</c:v>
                </c:pt>
                <c:pt idx="32">
                  <c:v>1.6214257421502818</c:v>
                </c:pt>
                <c:pt idx="33">
                  <c:v>1.609745091133222</c:v>
                </c:pt>
                <c:pt idx="34">
                  <c:v>1.624275534968251</c:v>
                </c:pt>
                <c:pt idx="35">
                  <c:v>1.7776950125425846</c:v>
                </c:pt>
                <c:pt idx="36">
                  <c:v>1.618470450621066</c:v>
                </c:pt>
                <c:pt idx="37">
                  <c:v>1.6439399028234924</c:v>
                </c:pt>
                <c:pt idx="38">
                  <c:v>1.764054687750929</c:v>
                </c:pt>
                <c:pt idx="39">
                  <c:v>1.7484242404785602</c:v>
                </c:pt>
                <c:pt idx="40">
                  <c:v>1.8452917742853392</c:v>
                </c:pt>
                <c:pt idx="41">
                  <c:v>1.6524385237489223</c:v>
                </c:pt>
                <c:pt idx="42">
                  <c:v>1.6465281409663273</c:v>
                </c:pt>
                <c:pt idx="43">
                  <c:v>1.592822831308279</c:v>
                </c:pt>
                <c:pt idx="44">
                  <c:v>1.5725492069558573</c:v>
                </c:pt>
                <c:pt idx="45">
                  <c:v>1.5031218731238742</c:v>
                </c:pt>
                <c:pt idx="46">
                  <c:v>1.6803038787865983</c:v>
                </c:pt>
                <c:pt idx="47">
                  <c:v>1.675164346481052</c:v>
                </c:pt>
                <c:pt idx="48">
                  <c:v>1.7357771260997068</c:v>
                </c:pt>
                <c:pt idx="49">
                  <c:v>1.599329311890112</c:v>
                </c:pt>
                <c:pt idx="50">
                  <c:v>1.6866376144542918</c:v>
                </c:pt>
                <c:pt idx="51">
                  <c:v>1.6423942166725647</c:v>
                </c:pt>
                <c:pt idx="52">
                  <c:v>1.5530660516225288</c:v>
                </c:pt>
                <c:pt idx="53">
                  <c:v>1.5530660516225288</c:v>
                </c:pt>
                <c:pt idx="54">
                  <c:v>1.7526863371128398</c:v>
                </c:pt>
              </c:numCache>
            </c:numRef>
          </c:xVal>
          <c:yVal>
            <c:numRef>
              <c:f>Sheet1!$B$186:$B$240</c:f>
              <c:numCache>
                <c:formatCode>General</c:formatCode>
                <c:ptCount val="55"/>
                <c:pt idx="0">
                  <c:v>0.015283480114229767</c:v>
                </c:pt>
                <c:pt idx="1">
                  <c:v>0.01955555665901694</c:v>
                </c:pt>
                <c:pt idx="2">
                  <c:v>0.018795704619852707</c:v>
                </c:pt>
                <c:pt idx="3">
                  <c:v>0.02440817528889025</c:v>
                </c:pt>
                <c:pt idx="4">
                  <c:v>0.019699380008587022</c:v>
                </c:pt>
                <c:pt idx="5">
                  <c:v>0.017920891258200566</c:v>
                </c:pt>
                <c:pt idx="6">
                  <c:v>0.01657036053013533</c:v>
                </c:pt>
                <c:pt idx="7">
                  <c:v>0.02092273685711027</c:v>
                </c:pt>
                <c:pt idx="8">
                  <c:v>0.018596797403772763</c:v>
                </c:pt>
                <c:pt idx="9">
                  <c:v>0.016126329928625435</c:v>
                </c:pt>
                <c:pt idx="10">
                  <c:v>0.020658002314543567</c:v>
                </c:pt>
                <c:pt idx="11">
                  <c:v>0.032046736576919185</c:v>
                </c:pt>
                <c:pt idx="12">
                  <c:v>0.02623661713703021</c:v>
                </c:pt>
                <c:pt idx="13">
                  <c:v>0.018766134681247118</c:v>
                </c:pt>
                <c:pt idx="14">
                  <c:v>0.026647180406230694</c:v>
                </c:pt>
                <c:pt idx="15">
                  <c:v>0.027296517834135947</c:v>
                </c:pt>
                <c:pt idx="16">
                  <c:v>0.019880020677730384</c:v>
                </c:pt>
                <c:pt idx="17">
                  <c:v>0.01986001139284531</c:v>
                </c:pt>
                <c:pt idx="18">
                  <c:v>0.019138315799317615</c:v>
                </c:pt>
                <c:pt idx="19">
                  <c:v>0.028258174366233478</c:v>
                </c:pt>
                <c:pt idx="20">
                  <c:v>0.029320544952569146</c:v>
                </c:pt>
                <c:pt idx="21">
                  <c:v>0.02168857980178232</c:v>
                </c:pt>
                <c:pt idx="22">
                  <c:v>0.020364355047037472</c:v>
                </c:pt>
                <c:pt idx="23">
                  <c:v>0.018933459071792558</c:v>
                </c:pt>
                <c:pt idx="24">
                  <c:v>0.01758131677413262</c:v>
                </c:pt>
                <c:pt idx="25">
                  <c:v>0.016103362983182906</c:v>
                </c:pt>
                <c:pt idx="26">
                  <c:v>0.01966862665709658</c:v>
                </c:pt>
                <c:pt idx="27">
                  <c:v>0.024235513766444894</c:v>
                </c:pt>
                <c:pt idx="28">
                  <c:v>0.027261611025497026</c:v>
                </c:pt>
                <c:pt idx="29">
                  <c:v>0.018871644862029177</c:v>
                </c:pt>
                <c:pt idx="30">
                  <c:v>0.018543368929120632</c:v>
                </c:pt>
                <c:pt idx="31">
                  <c:v>0.022931995789050252</c:v>
                </c:pt>
                <c:pt idx="32">
                  <c:v>0.02263879003484237</c:v>
                </c:pt>
                <c:pt idx="33">
                  <c:v>0.02312707032901315</c:v>
                </c:pt>
                <c:pt idx="34">
                  <c:v>0.022519661599838925</c:v>
                </c:pt>
                <c:pt idx="35">
                  <c:v>0.016106345464281607</c:v>
                </c:pt>
                <c:pt idx="36">
                  <c:v>0.02276232857863915</c:v>
                </c:pt>
                <c:pt idx="37">
                  <c:v>0.021697642064539363</c:v>
                </c:pt>
                <c:pt idx="38">
                  <c:v>0.01667654500128747</c:v>
                </c:pt>
                <c:pt idx="39">
                  <c:v>0.017329936612853175</c:v>
                </c:pt>
                <c:pt idx="40">
                  <c:v>0.013280632525804248</c:v>
                </c:pt>
                <c:pt idx="41">
                  <c:v>0.021342378550591887</c:v>
                </c:pt>
                <c:pt idx="42">
                  <c:v>0.021589447266156844</c:v>
                </c:pt>
                <c:pt idx="43">
                  <c:v>0.02383446292153986</c:v>
                </c:pt>
                <c:pt idx="44">
                  <c:v>0.024681950895305227</c:v>
                </c:pt>
                <c:pt idx="45">
                  <c:v>0.02758418630474109</c:v>
                </c:pt>
                <c:pt idx="46">
                  <c:v>0.020177537332829468</c:v>
                </c:pt>
                <c:pt idx="47">
                  <c:v>0.02039238257924486</c:v>
                </c:pt>
                <c:pt idx="48">
                  <c:v>0.017858617481778957</c:v>
                </c:pt>
                <c:pt idx="49">
                  <c:v>0.023562475833844673</c:v>
                </c:pt>
                <c:pt idx="50">
                  <c:v>0.019912771412633368</c:v>
                </c:pt>
                <c:pt idx="51">
                  <c:v>0.02176225559398806</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ivate Label</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32118055555554"/>
          <c:y val="2.1110765282671782E-2"/>
          <c:w val="0.79168303571428567"/>
          <c:h val="0.86451234068500749"/>
        </c:manualLayout>
      </c:layout>
      <c:scatterChart>
        <c:scatterStyle val="lineMarker"/>
        <c:varyColors val="0"/>
        <c:ser>
          <c:idx val="0"/>
          <c:order val="0"/>
          <c:tx>
            <c:strRef>
              <c:f>Sheet1!$B$1</c:f>
              <c:strCache>
                <c:ptCount val="1"/>
                <c:pt idx="0">
                  <c:v>P3Y_ Points</c:v>
                </c:pt>
              </c:strCache>
            </c:strRef>
          </c:tx>
          <c:spPr>
            <a:ln w="25400" cap="rnd">
              <a:noFill/>
              <a:round/>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4.1311</c:v>
                </c:pt>
                <c:pt idx="1">
                  <c:v>14.5135</c:v>
                </c:pt>
                <c:pt idx="2">
                  <c:v>14.458</c:v>
                </c:pt>
                <c:pt idx="3">
                  <c:v>14.0664</c:v>
                </c:pt>
                <c:pt idx="4">
                  <c:v>13.9734</c:v>
                </c:pt>
                <c:pt idx="5">
                  <c:v>14.0094</c:v>
                </c:pt>
                <c:pt idx="6">
                  <c:v>13.8736</c:v>
                </c:pt>
                <c:pt idx="7">
                  <c:v>10.8247</c:v>
                </c:pt>
                <c:pt idx="8">
                  <c:v>13.8746</c:v>
                </c:pt>
                <c:pt idx="9">
                  <c:v>14.4651</c:v>
                </c:pt>
                <c:pt idx="10">
                  <c:v>14.4635</c:v>
                </c:pt>
                <c:pt idx="11">
                  <c:v>12.9158</c:v>
                </c:pt>
                <c:pt idx="12">
                  <c:v>12.5129</c:v>
                </c:pt>
                <c:pt idx="13">
                  <c:v>14.415</c:v>
                </c:pt>
                <c:pt idx="14">
                  <c:v>15.0078</c:v>
                </c:pt>
                <c:pt idx="15">
                  <c:v>15.1765</c:v>
                </c:pt>
                <c:pt idx="16">
                  <c:v>14.5182</c:v>
                </c:pt>
                <c:pt idx="17">
                  <c:v>14.5948</c:v>
                </c:pt>
                <c:pt idx="18">
                  <c:v>14.8373</c:v>
                </c:pt>
                <c:pt idx="19">
                  <c:v>14.6007</c:v>
                </c:pt>
                <c:pt idx="20">
                  <c:v>13.4956</c:v>
                </c:pt>
                <c:pt idx="21">
                  <c:v>14.3283</c:v>
                </c:pt>
                <c:pt idx="22">
                  <c:v>14.0516</c:v>
                </c:pt>
                <c:pt idx="23">
                  <c:v>14.4113</c:v>
                </c:pt>
                <c:pt idx="24">
                  <c:v>14.2702</c:v>
                </c:pt>
                <c:pt idx="25">
                  <c:v>14.45</c:v>
                </c:pt>
                <c:pt idx="26">
                  <c:v>14.2139</c:v>
                </c:pt>
                <c:pt idx="27">
                  <c:v>12.3248</c:v>
                </c:pt>
                <c:pt idx="28">
                  <c:v>12.8195</c:v>
                </c:pt>
                <c:pt idx="29">
                  <c:v>14.9857</c:v>
                </c:pt>
                <c:pt idx="30">
                  <c:v>15.1217</c:v>
                </c:pt>
                <c:pt idx="31">
                  <c:v>13.8895</c:v>
                </c:pt>
                <c:pt idx="32">
                  <c:v>13.6892</c:v>
                </c:pt>
                <c:pt idx="33">
                  <c:v>15.4179</c:v>
                </c:pt>
                <c:pt idx="34">
                  <c:v>13.1818</c:v>
                </c:pt>
                <c:pt idx="35">
                  <c:v>13.305</c:v>
                </c:pt>
                <c:pt idx="36">
                  <c:v>15.3387</c:v>
                </c:pt>
                <c:pt idx="37">
                  <c:v>15.5086</c:v>
                </c:pt>
                <c:pt idx="38">
                  <c:v>16.2526</c:v>
                </c:pt>
                <c:pt idx="39">
                  <c:v>15.6095</c:v>
                </c:pt>
                <c:pt idx="40">
                  <c:v>15.8886</c:v>
                </c:pt>
                <c:pt idx="41">
                  <c:v>15.4442</c:v>
                </c:pt>
                <c:pt idx="42">
                  <c:v>13.9071</c:v>
                </c:pt>
                <c:pt idx="43">
                  <c:v>15.9194</c:v>
                </c:pt>
                <c:pt idx="44">
                  <c:v>16.0103</c:v>
                </c:pt>
                <c:pt idx="45">
                  <c:v>16.1111</c:v>
                </c:pt>
                <c:pt idx="46">
                  <c:v>16.3048</c:v>
                </c:pt>
                <c:pt idx="47">
                  <c:v>15.8923</c:v>
                </c:pt>
                <c:pt idx="48">
                  <c:v>16.8504</c:v>
                </c:pt>
                <c:pt idx="49">
                  <c:v>16.2164</c:v>
                </c:pt>
                <c:pt idx="50">
                  <c:v>16.2952</c:v>
                </c:pt>
                <c:pt idx="51">
                  <c:v>16.8301</c:v>
                </c:pt>
                <c:pt idx="52">
                  <c:v>16.3865</c:v>
                </c:pt>
                <c:pt idx="53">
                  <c:v>16.4316</c:v>
                </c:pt>
                <c:pt idx="54">
                  <c:v>16.2607</c:v>
                </c:pt>
                <c:pt idx="55">
                  <c:v>16.3036</c:v>
                </c:pt>
                <c:pt idx="56">
                  <c:v>16.128</c:v>
                </c:pt>
                <c:pt idx="57">
                  <c:v>16.5169</c:v>
                </c:pt>
                <c:pt idx="58">
                  <c:v>16.4224</c:v>
                </c:pt>
                <c:pt idx="59">
                  <c:v>15.9404</c:v>
                </c:pt>
                <c:pt idx="60">
                  <c:v>16.501</c:v>
                </c:pt>
                <c:pt idx="61">
                  <c:v>15.984</c:v>
                </c:pt>
                <c:pt idx="62">
                  <c:v>15.8963</c:v>
                </c:pt>
                <c:pt idx="63">
                  <c:v>13.38</c:v>
                </c:pt>
                <c:pt idx="64">
                  <c:v>14.5733</c:v>
                </c:pt>
                <c:pt idx="65">
                  <c:v>15.5397</c:v>
                </c:pt>
                <c:pt idx="66">
                  <c:v>14.4175</c:v>
                </c:pt>
                <c:pt idx="67">
                  <c:v>13.8488</c:v>
                </c:pt>
                <c:pt idx="68">
                  <c:v>15.4038</c:v>
                </c:pt>
                <c:pt idx="69">
                  <c:v>15.4299</c:v>
                </c:pt>
                <c:pt idx="70">
                  <c:v>15.4659</c:v>
                </c:pt>
                <c:pt idx="71">
                  <c:v>14.2607</c:v>
                </c:pt>
                <c:pt idx="72">
                  <c:v>14.1274</c:v>
                </c:pt>
                <c:pt idx="73">
                  <c:v>15.9551</c:v>
                </c:pt>
                <c:pt idx="74">
                  <c:v>15.5714</c:v>
                </c:pt>
                <c:pt idx="75">
                  <c:v>15.8426</c:v>
                </c:pt>
                <c:pt idx="76">
                  <c:v>15.9436</c:v>
                </c:pt>
                <c:pt idx="77">
                  <c:v>16.2661</c:v>
                </c:pt>
                <c:pt idx="78">
                  <c:v>15.899</c:v>
                </c:pt>
                <c:pt idx="79">
                  <c:v>12.6412</c:v>
                </c:pt>
                <c:pt idx="80">
                  <c:v>13.5742</c:v>
                </c:pt>
                <c:pt idx="81">
                  <c:v>15.8711</c:v>
                </c:pt>
                <c:pt idx="82">
                  <c:v>15.9673</c:v>
                </c:pt>
                <c:pt idx="83">
                  <c:v>15.5228</c:v>
                </c:pt>
                <c:pt idx="84">
                  <c:v>15.4348</c:v>
                </c:pt>
                <c:pt idx="85">
                  <c:v>13.5798</c:v>
                </c:pt>
                <c:pt idx="86">
                  <c:v>14.4969</c:v>
                </c:pt>
                <c:pt idx="87">
                  <c:v>15.8225</c:v>
                </c:pt>
                <c:pt idx="88">
                  <c:v>16.5054</c:v>
                </c:pt>
                <c:pt idx="89">
                  <c:v>15.6866</c:v>
                </c:pt>
                <c:pt idx="90">
                  <c:v>15.9804</c:v>
                </c:pt>
                <c:pt idx="91">
                  <c:v>15.9201</c:v>
                </c:pt>
                <c:pt idx="92">
                  <c:v>14.7839</c:v>
                </c:pt>
                <c:pt idx="93">
                  <c:v>14.3655</c:v>
                </c:pt>
                <c:pt idx="94">
                  <c:v>15.9672</c:v>
                </c:pt>
                <c:pt idx="95">
                  <c:v>16.6519</c:v>
                </c:pt>
                <c:pt idx="96">
                  <c:v>16.2332</c:v>
                </c:pt>
                <c:pt idx="97">
                  <c:v>16.1649</c:v>
                </c:pt>
                <c:pt idx="98">
                  <c:v>13.2404</c:v>
                </c:pt>
                <c:pt idx="99">
                  <c:v>16.0572</c:v>
                </c:pt>
                <c:pt idx="100">
                  <c:v>15.9951</c:v>
                </c:pt>
                <c:pt idx="101">
                  <c:v>13.4799</c:v>
                </c:pt>
                <c:pt idx="102">
                  <c:v>14.0491</c:v>
                </c:pt>
                <c:pt idx="103">
                  <c:v>16.0596</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F32D-48B7-BC20-E66FC6253BAD}"/>
            </c:ext>
          </c:extLst>
        </c:ser>
        <c:ser>
          <c:idx val="1"/>
          <c:order val="1"/>
          <c:tx>
            <c:strRef>
              <c:f>Sheet1!$B$107</c:f>
              <c:strCache>
                <c:ptCount val="1"/>
                <c:pt idx="0">
                  <c:v>P12M_Points</c:v>
                </c:pt>
              </c:strCache>
            </c:strRef>
          </c:tx>
          <c:spPr>
            <a:ln w="25400" cap="rnd">
              <a:noFill/>
              <a:round/>
            </a:ln>
            <a:effectLst/>
          </c:spPr>
          <c:marker>
            <c:symbol val="circle"/>
            <c:size val="5"/>
            <c:spPr>
              <a:solidFill>
                <a:srgbClr val="7ECAC4"/>
              </a:solidFill>
              <a:ln w="9525">
                <a:solidFill>
                  <a:schemeClr val="tx2"/>
                </a:solidFill>
              </a:ln>
              <a:effectLst/>
            </c:spPr>
          </c:marker>
          <c:trendline>
            <c:spPr>
              <a:ln w="19050" cap="rnd">
                <a:solidFill>
                  <a:schemeClr val="accent1">
                    <a:alpha val="0"/>
                  </a:schemeClr>
                </a:solidFill>
                <a:prstDash val="sysDot"/>
              </a:ln>
              <a:effectLst/>
            </c:spPr>
            <c:trendlineType val="linear"/>
            <c:dispRSqr val="1"/>
            <c:dispEq val="0"/>
            <c:trendlineLbl>
              <c:layout>
                <c:manualLayout>
                  <c:x val="2.1597246885972636E-2"/>
                  <c:y val="-0.19540762593941954"/>
                </c:manualLayout>
              </c:layout>
              <c:numFmt formatCode="General" sourceLinked="0"/>
              <c:spPr>
                <a:noFill/>
                <a:ln>
                  <a:noFill/>
                </a:ln>
                <a:effectLst/>
              </c:spPr>
              <c:txPr>
                <a:bodyPr rot="0" spcFirstLastPara="1" vertOverflow="ellipsis" vert="horz" wrap="square" anchor="ctr" anchorCtr="1"/>
                <a:lstStyle/>
                <a:p>
                  <a:pPr algn="ctr" rtl="0">
                    <a:defRPr lang="en-US" sz="800" b="0" i="0" u="none" strike="noStrike" kern="1200" baseline="0">
                      <a:solidFill>
                        <a:srgbClr val="5BC2BC"/>
                      </a:solidFill>
                      <a:latin typeface="+mn-lt"/>
                      <a:ea typeface="+mn-ea"/>
                      <a:cs typeface="+mn-cs"/>
                    </a:defRPr>
                  </a:pPr>
                  <a:endParaRPr lang="en-US"/>
                </a:p>
              </c:txPr>
            </c:trendlineLbl>
          </c:trendline>
          <c:xVal>
            <c:numRef>
              <c:f>Sheet1!$A$108:$A$159</c:f>
              <c:numCache>
                <c:formatCode>General</c:formatCode>
                <c:ptCount val="52"/>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F32D-48B7-BC20-E66FC6253BAD}"/>
            </c:ext>
          </c:extLst>
        </c:ser>
        <c:ser>
          <c:idx val="2"/>
          <c:order val="2"/>
          <c:tx>
            <c:strRef>
              <c:f>Sheet1!$B$161</c:f>
              <c:strCache>
                <c:ptCount val="1"/>
                <c:pt idx="0">
                  <c:v>Custom Linep3yQ</c:v>
                </c:pt>
              </c:strCache>
            </c:strRef>
          </c:tx>
          <c:spPr>
            <a:ln w="19050" cap="rnd">
              <a:solidFill>
                <a:srgbClr val="C00000"/>
              </a:solidFill>
              <a:prstDash val="sysDot"/>
              <a:round/>
            </a:ln>
            <a:effectLst/>
          </c:spPr>
          <c:marker>
            <c:symbol val="none"/>
          </c:marker>
          <c:xVal>
            <c:numRef>
              <c:f>Sheet1!$A$162:$A$163</c:f>
              <c:numCache>
                <c:formatCode>General</c:formatCode>
                <c:ptCount val="2"/>
                <c:pt idx="0">
                  <c:v>0</c:v>
                </c:pt>
                <c:pt idx="1">
                  <c:v>14.711803383109539</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3-F32D-48B7-BC20-E66FC6253BAD}"/>
            </c:ext>
          </c:extLst>
        </c:ser>
        <c:ser>
          <c:idx val="3"/>
          <c:order val="3"/>
          <c:tx>
            <c:strRef>
              <c:f>Sheet1!$B$165</c:f>
              <c:strCache>
                <c:ptCount val="1"/>
                <c:pt idx="0">
                  <c:v>Custom Line2p3yQ</c:v>
                </c:pt>
              </c:strCache>
            </c:strRef>
          </c:tx>
          <c:spPr>
            <a:ln w="19050" cap="rnd">
              <a:solidFill>
                <a:srgbClr val="C00000"/>
              </a:solidFill>
              <a:round/>
            </a:ln>
            <a:effectLst/>
          </c:spPr>
          <c:marker>
            <c:symbol val="none"/>
          </c:marker>
          <c:dPt>
            <c:idx val="1"/>
            <c:bubble3D val="0"/>
            <c:spPr>
              <a:ln w="19050" cap="rnd">
                <a:solidFill>
                  <a:srgbClr val="C00000"/>
                </a:solidFill>
                <a:prstDash val="sysDot"/>
                <a:round/>
              </a:ln>
              <a:effectLst/>
            </c:spPr>
            <c:extLst>
              <c:ext xmlns:c16="http://schemas.microsoft.com/office/drawing/2014/chart" uri="{C3380CC4-5D6E-409C-BE32-E72D297353CC}">
                <c16:uniqueId val="{00000005-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66:$A$167</c:f>
              <c:numCache>
                <c:formatCode>General</c:formatCode>
                <c:ptCount val="2"/>
                <c:pt idx="0">
                  <c:v>14.711803383109539</c:v>
                </c:pt>
                <c:pt idx="1">
                  <c:v>14.711803383109539</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7-F32D-48B7-BC20-E66FC6253BAD}"/>
            </c:ext>
          </c:extLst>
        </c:ser>
        <c:ser>
          <c:idx val="4"/>
          <c:order val="4"/>
          <c:tx>
            <c:strRef>
              <c:f>Sheet1!$B$169</c:f>
              <c:strCache>
                <c:ptCount val="1"/>
                <c:pt idx="0">
                  <c:v>Custom Line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9-F32D-48B7-BC20-E66FC6253BAD}"/>
              </c:ext>
            </c:extLst>
          </c:dPt>
          <c:xVal>
            <c:numRef>
              <c:f>Sheet1!$A$170:$A$171</c:f>
              <c:numCache>
                <c:formatCode>General</c:formatCode>
                <c:ptCount val="2"/>
                <c:pt idx="0">
                  <c:v>0</c:v>
                </c:pt>
                <c:pt idx="1">
                  <c:v>14.711803383109539</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A-F32D-48B7-BC20-E66FC6253BAD}"/>
            </c:ext>
          </c:extLst>
        </c:ser>
        <c:ser>
          <c:idx val="5"/>
          <c:order val="5"/>
          <c:tx>
            <c:strRef>
              <c:f>Sheet1!$B$173</c:f>
              <c:strCache>
                <c:ptCount val="1"/>
                <c:pt idx="0">
                  <c:v>Custom Line2p12mQ</c:v>
                </c:pt>
              </c:strCache>
            </c:strRef>
          </c:tx>
          <c:spPr>
            <a:ln w="19050" cap="rnd">
              <a:solidFill>
                <a:srgbClr val="00A097"/>
              </a:solidFill>
              <a:round/>
            </a:ln>
            <a:effectLst/>
          </c:spPr>
          <c:marker>
            <c:symbol val="none"/>
          </c:marker>
          <c:dPt>
            <c:idx val="1"/>
            <c:bubble3D val="0"/>
            <c:spPr>
              <a:ln w="19050" cap="rnd">
                <a:solidFill>
                  <a:srgbClr val="00A097"/>
                </a:solidFill>
                <a:prstDash val="sysDot"/>
                <a:round/>
              </a:ln>
              <a:effectLst/>
            </c:spPr>
            <c:extLst>
              <c:ext xmlns:c16="http://schemas.microsoft.com/office/drawing/2014/chart" uri="{C3380CC4-5D6E-409C-BE32-E72D297353CC}">
                <c16:uniqueId val="{0000000C-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74:$A$175</c:f>
              <c:numCache>
                <c:formatCode>General</c:formatCode>
                <c:ptCount val="2"/>
                <c:pt idx="0">
                  <c:v>14.711803383109539</c:v>
                </c:pt>
                <c:pt idx="1">
                  <c:v>14.711803383109539</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0E-F32D-48B7-BC20-E66FC6253BAD}"/>
            </c:ext>
          </c:extLst>
        </c:ser>
        <c:ser>
          <c:idx val="6"/>
          <c:order val="6"/>
          <c:tx>
            <c:strRef>
              <c:f>Sheet1!$B$177</c:f>
              <c:strCache>
                <c:ptCount val="1"/>
                <c:pt idx="0">
                  <c:v>Custom Line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0-F32D-48B7-BC20-E66FC6253BAD}"/>
              </c:ext>
            </c:extLst>
          </c:dPt>
          <c:xVal>
            <c:numRef>
              <c:f>Sheet1!$A$178:$A$179</c:f>
              <c:numCache>
                <c:formatCode>General</c:formatCode>
                <c:ptCount val="2"/>
                <c:pt idx="0">
                  <c:v>0</c:v>
                </c:pt>
                <c:pt idx="1">
                  <c:v>16.323590045087776</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1-F32D-48B7-BC20-E66FC6253BAD}"/>
            </c:ext>
          </c:extLst>
        </c:ser>
        <c:ser>
          <c:idx val="7"/>
          <c:order val="7"/>
          <c:tx>
            <c:strRef>
              <c:f>Sheet1!$B$181</c:f>
              <c:strCache>
                <c:ptCount val="1"/>
                <c:pt idx="0">
                  <c:v>Custom Line2p3m</c:v>
                </c:pt>
              </c:strCache>
            </c:strRef>
          </c:tx>
          <c:spPr>
            <a:ln w="19050" cap="rnd">
              <a:solidFill>
                <a:srgbClr val="575555"/>
              </a:solidFill>
              <a:round/>
            </a:ln>
            <a:effectLst/>
          </c:spPr>
          <c:marker>
            <c:symbol val="none"/>
          </c:marker>
          <c:dPt>
            <c:idx val="1"/>
            <c:bubble3D val="0"/>
            <c:spPr>
              <a:ln w="19050" cap="rnd">
                <a:solidFill>
                  <a:srgbClr val="575555"/>
                </a:solidFill>
                <a:prstDash val="sysDot"/>
                <a:round/>
              </a:ln>
              <a:effectLst/>
            </c:spPr>
            <c:extLst>
              <c:ext xmlns:c16="http://schemas.microsoft.com/office/drawing/2014/chart" uri="{C3380CC4-5D6E-409C-BE32-E72D297353CC}">
                <c16:uniqueId val="{00000013-F32D-48B7-BC20-E66FC6253BAD}"/>
              </c:ext>
            </c:extLst>
          </c:dPt>
          <c:trendline>
            <c:spPr>
              <a:ln w="19050" cap="rnd">
                <a:solidFill>
                  <a:schemeClr val="accent1"/>
                </a:solidFill>
                <a:prstDash val="sysDot"/>
              </a:ln>
              <a:effectLst/>
            </c:spPr>
            <c:trendlineType val="poly"/>
            <c:order val="2"/>
            <c:dispRSqr val="1"/>
            <c:dispEq val="0"/>
            <c:trendlineLbl>
              <c:layout>
                <c:manualLayout>
                  <c:x val="8.0060654527559061E-2"/>
                  <c:y val="-2.3590302117582292E-2"/>
                </c:manualLayout>
              </c:layout>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Nexa Book" panose="00000400000000000000" pitchFamily="2" charset="0"/>
                      <a:ea typeface="+mn-ea"/>
                      <a:cs typeface="+mn-cs"/>
                    </a:defRPr>
                  </a:pPr>
                  <a:endParaRPr lang="en-US"/>
                </a:p>
              </c:txPr>
            </c:trendlineLbl>
          </c:trendline>
          <c:xVal>
            <c:numRef>
              <c:f>Sheet1!$A$182:$A$183</c:f>
              <c:numCache>
                <c:formatCode>General</c:formatCode>
                <c:ptCount val="2"/>
                <c:pt idx="0">
                  <c:v>16.323590045087776</c:v>
                </c:pt>
                <c:pt idx="1">
                  <c:v>16.323590045087776</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5-F32D-48B7-BC20-E66FC6253BAD}"/>
            </c:ext>
          </c:extLst>
        </c:ser>
        <c:ser>
          <c:idx val="8"/>
          <c:order val="8"/>
          <c:tx>
            <c:strRef>
              <c:f>Sheet1!$B$185</c:f>
              <c:strCache>
                <c:ptCount val="1"/>
                <c:pt idx="0">
                  <c:v>Y_Hat</c:v>
                </c:pt>
              </c:strCache>
            </c:strRef>
          </c:tx>
          <c:spPr>
            <a:ln w="19050" cap="rnd">
              <a:solidFill>
                <a:schemeClr val="bg1"/>
              </a:solidFill>
              <a:round/>
            </a:ln>
            <a:effectLst/>
          </c:spPr>
          <c:marker>
            <c:symbol val="none"/>
          </c:marker>
          <c:dPt>
            <c:idx val="1"/>
            <c:bubble3D val="0"/>
            <c:spPr>
              <a:ln w="19050" cap="rnd">
                <a:solidFill>
                  <a:schemeClr val="bg1"/>
                </a:solidFill>
                <a:prstDash val="sysDot"/>
                <a:round/>
              </a:ln>
              <a:effectLst/>
            </c:spPr>
            <c:extLst>
              <c:ext xmlns:c16="http://schemas.microsoft.com/office/drawing/2014/chart" uri="{C3380CC4-5D6E-409C-BE32-E72D297353CC}">
                <c16:uniqueId val="{00000017-F32D-48B7-BC20-E66FC6253BAD}"/>
              </c:ext>
            </c:extLst>
          </c:dPt>
          <c:trendline>
            <c:spPr>
              <a:ln w="19050" cap="rnd">
                <a:solidFill>
                  <a:schemeClr val="accent1"/>
                </a:solidFill>
                <a:prstDash val="sysDot"/>
              </a:ln>
              <a:effectLst/>
            </c:spPr>
            <c:trendlineType val="linear"/>
            <c:dispRSqr val="0"/>
            <c:dispEq val="0"/>
          </c:trendline>
          <c:xVal>
            <c:numRef>
              <c:f>Sheet1!$A$186:$A$240</c:f>
              <c:numCache>
                <c:formatCode>General</c:formatCode>
                <c:ptCount val="55"/>
                <c:pt idx="0">
                  <c:v>16.8188</c:v>
                </c:pt>
                <c:pt idx="1">
                  <c:v>16.4131</c:v>
                </c:pt>
                <c:pt idx="2">
                  <c:v>16.7654</c:v>
                </c:pt>
                <c:pt idx="3">
                  <c:v>15.6206</c:v>
                </c:pt>
                <c:pt idx="4">
                  <c:v>15.6992</c:v>
                </c:pt>
                <c:pt idx="5">
                  <c:v>16.0569</c:v>
                </c:pt>
                <c:pt idx="6">
                  <c:v>15.8218</c:v>
                </c:pt>
                <c:pt idx="7">
                  <c:v>15.8597</c:v>
                </c:pt>
                <c:pt idx="8">
                  <c:v>15.6323</c:v>
                </c:pt>
                <c:pt idx="9">
                  <c:v>16.1613</c:v>
                </c:pt>
                <c:pt idx="10">
                  <c:v>15.5448</c:v>
                </c:pt>
                <c:pt idx="11">
                  <c:v>13.151</c:v>
                </c:pt>
                <c:pt idx="12">
                  <c:v>14.5162</c:v>
                </c:pt>
                <c:pt idx="13">
                  <c:v>15.4842</c:v>
                </c:pt>
                <c:pt idx="14">
                  <c:v>14.3193</c:v>
                </c:pt>
                <c:pt idx="15">
                  <c:v>14.3023</c:v>
                </c:pt>
                <c:pt idx="16">
                  <c:v>15.6348</c:v>
                </c:pt>
                <c:pt idx="17">
                  <c:v>15.6232</c:v>
                </c:pt>
                <c:pt idx="18">
                  <c:v>15.8096</c:v>
                </c:pt>
                <c:pt idx="19">
                  <c:v>13.3302</c:v>
                </c:pt>
                <c:pt idx="20">
                  <c:v>13.383</c:v>
                </c:pt>
                <c:pt idx="21">
                  <c:v>15.643</c:v>
                </c:pt>
                <c:pt idx="22">
                  <c:v>15.4822</c:v>
                </c:pt>
                <c:pt idx="23">
                  <c:v>15.9797</c:v>
                </c:pt>
                <c:pt idx="24">
                  <c:v>15.8129</c:v>
                </c:pt>
                <c:pt idx="25">
                  <c:v>15.5695</c:v>
                </c:pt>
                <c:pt idx="26">
                  <c:v>15.0551</c:v>
                </c:pt>
                <c:pt idx="27">
                  <c:v>14.4001</c:v>
                </c:pt>
                <c:pt idx="28">
                  <c:v>13.9674</c:v>
                </c:pt>
                <c:pt idx="29">
                  <c:v>15.1309</c:v>
                </c:pt>
                <c:pt idx="30">
                  <c:v>15.168</c:v>
                </c:pt>
                <c:pt idx="31">
                  <c:v>15.2528</c:v>
                </c:pt>
                <c:pt idx="32">
                  <c:v>15.1459</c:v>
                </c:pt>
                <c:pt idx="33">
                  <c:v>14.6255</c:v>
                </c:pt>
                <c:pt idx="34">
                  <c:v>14.6573</c:v>
                </c:pt>
                <c:pt idx="35">
                  <c:v>16.2284</c:v>
                </c:pt>
                <c:pt idx="36">
                  <c:v>14.5282</c:v>
                </c:pt>
                <c:pt idx="37">
                  <c:v>14.684</c:v>
                </c:pt>
                <c:pt idx="38">
                  <c:v>16.4768</c:v>
                </c:pt>
                <c:pt idx="39">
                  <c:v>16.3385</c:v>
                </c:pt>
                <c:pt idx="40">
                  <c:v>16.8608</c:v>
                </c:pt>
                <c:pt idx="41">
                  <c:v>16.1007</c:v>
                </c:pt>
                <c:pt idx="42">
                  <c:v>16.3711</c:v>
                </c:pt>
                <c:pt idx="43">
                  <c:v>15.7836</c:v>
                </c:pt>
                <c:pt idx="44">
                  <c:v>16.4583</c:v>
                </c:pt>
                <c:pt idx="45">
                  <c:v>15.0222</c:v>
                </c:pt>
                <c:pt idx="46">
                  <c:v>15.9029</c:v>
                </c:pt>
                <c:pt idx="47">
                  <c:v>17.3279</c:v>
                </c:pt>
                <c:pt idx="48">
                  <c:v>17.1651</c:v>
                </c:pt>
                <c:pt idx="49">
                  <c:v>15.8815</c:v>
                </c:pt>
                <c:pt idx="50">
                  <c:v>17.2231</c:v>
                </c:pt>
                <c:pt idx="51">
                  <c:v>16.2441</c:v>
                </c:pt>
                <c:pt idx="52">
                  <c:v>14.711803383109539</c:v>
                </c:pt>
                <c:pt idx="53">
                  <c:v>14.711803383109539</c:v>
                </c:pt>
                <c:pt idx="54">
                  <c:v>16.323590045087776</c:v>
                </c:pt>
              </c:numCache>
            </c:numRef>
          </c:xVal>
          <c:yVal>
            <c:numRef>
              <c:f>Sheet1!$B$186:$B$240</c:f>
              <c:numCache>
                <c:formatCode>General</c:formatCode>
                <c:ptCount val="55"/>
                <c:pt idx="0">
                  <c:v>0.01458794387387953</c:v>
                </c:pt>
                <c:pt idx="1">
                  <c:v>0.0166883548125991</c:v>
                </c:pt>
                <c:pt idx="2">
                  <c:v>0.01486440910465997</c:v>
                </c:pt>
                <c:pt idx="3">
                  <c:v>0.020791326636447435</c:v>
                </c:pt>
                <c:pt idx="4">
                  <c:v>0.020384394667545894</c:v>
                </c:pt>
                <c:pt idx="5">
                  <c:v>0.018532491801437942</c:v>
                </c:pt>
                <c:pt idx="6">
                  <c:v>0.019749663632083678</c:v>
                </c:pt>
                <c:pt idx="7">
                  <c:v>0.01955344579975074</c:v>
                </c:pt>
                <c:pt idx="8">
                  <c:v>0.02073075279374835</c:v>
                </c:pt>
                <c:pt idx="9">
                  <c:v>0.017991986743507632</c:v>
                </c:pt>
                <c:pt idx="10">
                  <c:v>0.02118376230111331</c:v>
                </c:pt>
                <c:pt idx="11">
                  <c:v>0.03357706697231601</c:v>
                </c:pt>
                <c:pt idx="12">
                  <c:v>0.026509083207120115</c:v>
                </c:pt>
                <c:pt idx="13">
                  <c:v>0.0214975037427855</c:v>
                </c:pt>
                <c:pt idx="14">
                  <c:v>0.02752848402997908</c:v>
                </c:pt>
                <c:pt idx="15">
                  <c:v>0.02761649730569571</c:v>
                </c:pt>
                <c:pt idx="16">
                  <c:v>0.02071780966496649</c:v>
                </c:pt>
                <c:pt idx="17">
                  <c:v>0.020777865782514296</c:v>
                </c:pt>
                <c:pt idx="18">
                  <c:v>0.019812826100539124</c:v>
                </c:pt>
                <c:pt idx="19">
                  <c:v>0.032649303501232574</c:v>
                </c:pt>
                <c:pt idx="20">
                  <c:v>0.03237594462135977</c:v>
                </c:pt>
                <c:pt idx="21">
                  <c:v>0.020675356202562</c:v>
                </c:pt>
                <c:pt idx="22">
                  <c:v>0.021507858245810973</c:v>
                </c:pt>
                <c:pt idx="23">
                  <c:v>0.01893217561822165</c:v>
                </c:pt>
                <c:pt idx="24">
                  <c:v>0.019795741170547068</c:v>
                </c:pt>
                <c:pt idx="25">
                  <c:v>0.02105588418874857</c:v>
                </c:pt>
                <c:pt idx="26">
                  <c:v>0.023719062366903257</c:v>
                </c:pt>
                <c:pt idx="27">
                  <c:v>0.027110162107749497</c:v>
                </c:pt>
                <c:pt idx="28">
                  <c:v>0.02935035883731313</c:v>
                </c:pt>
                <c:pt idx="29">
                  <c:v>0.02332662670223737</c:v>
                </c:pt>
                <c:pt idx="30">
                  <c:v>0.02313455067111464</c:v>
                </c:pt>
                <c:pt idx="31">
                  <c:v>0.022695519742834083</c:v>
                </c:pt>
                <c:pt idx="32">
                  <c:v>0.02324896792954624</c:v>
                </c:pt>
                <c:pt idx="33">
                  <c:v>0.025943209616777374</c:v>
                </c:pt>
                <c:pt idx="34">
                  <c:v>0.025778573018672174</c:v>
                </c:pt>
                <c:pt idx="35">
                  <c:v>0.01764459316700262</c:v>
                </c:pt>
                <c:pt idx="36">
                  <c:v>0.02644695618896721</c:v>
                </c:pt>
                <c:pt idx="37">
                  <c:v>0.025640340403281947</c:v>
                </c:pt>
                <c:pt idx="38">
                  <c:v>0.01635856389123741</c:v>
                </c:pt>
                <c:pt idx="39">
                  <c:v>0.017074577775449684</c:v>
                </c:pt>
                <c:pt idx="40">
                  <c:v>0.014370499310344342</c:v>
                </c:pt>
                <c:pt idx="41">
                  <c:v>0.018305728185179823</c:v>
                </c:pt>
                <c:pt idx="42">
                  <c:v>0.01690579937613429</c:v>
                </c:pt>
                <c:pt idx="43">
                  <c:v>0.019947434639870434</c:v>
                </c:pt>
                <c:pt idx="44">
                  <c:v>0.01645434304422315</c:v>
                </c:pt>
                <c:pt idx="45">
                  <c:v>0.02388939394167247</c:v>
                </c:pt>
                <c:pt idx="46">
                  <c:v>0.01932978853440026</c:v>
                </c:pt>
                <c:pt idx="47">
                  <c:v>0.011952205128742385</c:v>
                </c:pt>
                <c:pt idx="48">
                  <c:v>0.012795061675016844</c:v>
                </c:pt>
                <c:pt idx="49">
                  <c:v>0.019440581716772945</c:v>
                </c:pt>
                <c:pt idx="50">
                  <c:v>0.012494781087277793</c:v>
                </c:pt>
                <c:pt idx="51">
                  <c:v>0.017563310318252562</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9-F32D-48B7-BC20-E66FC6253BAD}"/>
            </c:ext>
          </c:extLst>
        </c:ser>
        <c:dLbls>
          <c:showLegendKey val="0"/>
          <c:showVal val="0"/>
          <c:showCatName val="0"/>
          <c:showSerName val="0"/>
          <c:showPercent val="0"/>
          <c:showBubbleSize val="0"/>
        </c:dLbls>
        <c:axId val="690896736"/>
        <c:axId val="690897216"/>
      </c:scatterChart>
      <c:valAx>
        <c:axId val="690896736"/>
        <c:scaling>
          <c:orientation val="minMax"/>
          <c:max val="21.0"/>
          <c:min val="9.0"/>
        </c:scaling>
        <c:delete val="0"/>
        <c:axPos val="b"/>
        <c:title>
          <c:tx>
            <c:rich>
              <a:bodyPr rot="0" spcFirstLastPara="1" vertOverflow="ellipsis" vert="horz" wrap="square" anchor="ctr" anchorCtr="1"/>
              <a:lstStyle/>
              <a:p>
                <a:pPr>
                  <a:defRPr sz="800" b="0">
                    <a:latin typeface="Nexa Bold"/>
                  </a:defRPr>
                </a:pPr>
                <a:r>
                  <a:t>Avg Price / Vol (€)</a:t>
                </a:r>
              </a:p>
            </c:rich>
          </c:tx>
          <c:layout>
            <c:manualLayout>
              <c:xMode val="edge"/>
              <c:yMode val="edge"/>
              <c:x val="0.40460416666666671"/>
              <c:y val="0.9455891209454852"/>
            </c:manualLayout>
          </c:layout>
          <c:overlay val="0"/>
          <c:spPr>
            <a:noFill/>
            <a:ln>
              <a:noFill/>
            </a:ln>
            <a:effectLst/>
          </c:spPr>
        </c:title>
        <c:numFmt formatCode="#,##0.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52563247338962E-2"/>
          <c:y val="2.5782116978461861E-2"/>
          <c:w val="0.7892644801990345"/>
          <c:h val="0.86094630516864257"/>
        </c:manualLayout>
      </c:layout>
      <c:scatterChart>
        <c:scatterStyle val="lineMarker"/>
        <c:varyColors val="0"/>
        <c:ser>
          <c:idx val="0"/>
          <c:order val="0"/>
          <c:tx>
            <c:strRef>
              <c:f>Sheet1!$B$1</c:f>
              <c:strCache>
                <c:ptCount val="1"/>
                <c:pt idx="0">
                  <c:v>P3Y Points</c:v>
                </c:pt>
              </c:strCache>
            </c:strRef>
          </c:tx>
          <c:spPr>
            <a:ln w="19050">
              <a:noFill/>
            </a:ln>
            <a:effectLst/>
          </c:spPr>
          <c:marker>
            <c:symbol val="circle"/>
            <c:size val="5"/>
            <c:spPr>
              <a:solidFill>
                <a:srgbClr val="CFCECE"/>
              </a:solidFill>
              <a:ln w="9525">
                <a:solidFill>
                  <a:schemeClr val="tx2"/>
                </a:solidFill>
              </a:ln>
              <a:effectLst/>
            </c:spPr>
          </c:marker>
          <c:xVal>
            <c:numRef>
              <c:f>Sheet1!$A$2:$A$105</c:f>
              <c:numCache>
                <c:formatCode>General</c:formatCode>
                <c:ptCount val="104"/>
                <c:pt idx="0">
                  <c:v>1.6117593384659252</c:v>
                </c:pt>
                <c:pt idx="1">
                  <c:v>1.6685444282216066</c:v>
                </c:pt>
                <c:pt idx="2">
                  <c:v>1.5561128391686667</c:v>
                </c:pt>
                <c:pt idx="3">
                  <c:v>1.5796779192776766</c:v>
                </c:pt>
                <c:pt idx="4">
                  <c:v>1.517215170631603</c:v>
                </c:pt>
                <c:pt idx="5">
                  <c:v>1.6039705983375696</c:v>
                </c:pt>
                <c:pt idx="6">
                  <c:v>1.668342191971909</c:v>
                </c:pt>
                <c:pt idx="7">
                  <c:v>1.2579692965635858</c:v>
                </c:pt>
                <c:pt idx="8">
                  <c:v>1.5354633082856541</c:v>
                </c:pt>
                <c:pt idx="9">
                  <c:v>1.564132785467128</c:v>
                </c:pt>
                <c:pt idx="10">
                  <c:v>1.8255310555478423</c:v>
                </c:pt>
                <c:pt idx="11">
                  <c:v>1.5052502767903968</c:v>
                </c:pt>
                <c:pt idx="12">
                  <c:v>1.3784825884348872</c:v>
                </c:pt>
                <c:pt idx="13">
                  <c:v>1.5525876460767947</c:v>
                </c:pt>
                <c:pt idx="14">
                  <c:v>1.7153143680065834</c:v>
                </c:pt>
                <c:pt idx="15">
                  <c:v>1.809224643555386</c:v>
                </c:pt>
                <c:pt idx="16">
                  <c:v>1.6542883513177837</c:v>
                </c:pt>
                <c:pt idx="17">
                  <c:v>1.5346470105781163</c:v>
                </c:pt>
                <c:pt idx="18">
                  <c:v>1.7268939349852768</c:v>
                </c:pt>
                <c:pt idx="19">
                  <c:v>1.5008788972152836</c:v>
                </c:pt>
                <c:pt idx="20">
                  <c:v>1.5976229090952137</c:v>
                </c:pt>
                <c:pt idx="21">
                  <c:v>1.6594436208653758</c:v>
                </c:pt>
                <c:pt idx="22">
                  <c:v>1.528710372288344</c:v>
                </c:pt>
                <c:pt idx="23">
                  <c:v>1.4237460606000731</c:v>
                </c:pt>
                <c:pt idx="24">
                  <c:v>1.4896446615725085</c:v>
                </c:pt>
                <c:pt idx="25">
                  <c:v>1.5794421126267926</c:v>
                </c:pt>
                <c:pt idx="26">
                  <c:v>1.5723862517561424</c:v>
                </c:pt>
                <c:pt idx="27">
                  <c:v>1.3510479698325002</c:v>
                </c:pt>
                <c:pt idx="28">
                  <c:v>1.3169817135812616</c:v>
                </c:pt>
                <c:pt idx="29">
                  <c:v>1.6856615786099143</c:v>
                </c:pt>
                <c:pt idx="30">
                  <c:v>1.6181248127380903</c:v>
                </c:pt>
                <c:pt idx="31">
                  <c:v>1.5036320136836523</c:v>
                </c:pt>
                <c:pt idx="32">
                  <c:v>1.3810595131203276</c:v>
                </c:pt>
                <c:pt idx="33">
                  <c:v>1.6030589116014056</c:v>
                </c:pt>
                <c:pt idx="34">
                  <c:v>1.3237264136732911</c:v>
                </c:pt>
                <c:pt idx="35">
                  <c:v>1.329184107733344</c:v>
                </c:pt>
                <c:pt idx="36">
                  <c:v>1.5622402835492544</c:v>
                </c:pt>
                <c:pt idx="37">
                  <c:v>1.564029125234474</c:v>
                </c:pt>
                <c:pt idx="38">
                  <c:v>1.6500771604938271</c:v>
                </c:pt>
                <c:pt idx="39">
                  <c:v>1.6625483283451736</c:v>
                </c:pt>
                <c:pt idx="40">
                  <c:v>1.7471135448967472</c:v>
                </c:pt>
                <c:pt idx="41">
                  <c:v>1.4829231758956092</c:v>
                </c:pt>
                <c:pt idx="42">
                  <c:v>1.439196531133901</c:v>
                </c:pt>
                <c:pt idx="43">
                  <c:v>1.6066407629812787</c:v>
                </c:pt>
                <c:pt idx="44">
                  <c:v>1.8896114625625533</c:v>
                </c:pt>
                <c:pt idx="45">
                  <c:v>1.820257598011524</c:v>
                </c:pt>
                <c:pt idx="46">
                  <c:v>1.6966316687651535</c:v>
                </c:pt>
                <c:pt idx="47">
                  <c:v>1.6900409422023717</c:v>
                </c:pt>
                <c:pt idx="48">
                  <c:v>1.7755579439843208</c:v>
                </c:pt>
                <c:pt idx="49">
                  <c:v>1.5819489020476252</c:v>
                </c:pt>
                <c:pt idx="50">
                  <c:v>1.7548325956557793</c:v>
                </c:pt>
                <c:pt idx="51">
                  <c:v>1.7862934895667497</c:v>
                </c:pt>
                <c:pt idx="52">
                  <c:v>1.6957633082208794</c:v>
                </c:pt>
                <c:pt idx="53">
                  <c:v>1.7796213663735216</c:v>
                </c:pt>
                <c:pt idx="54">
                  <c:v>1.6856754851550837</c:v>
                </c:pt>
                <c:pt idx="55">
                  <c:v>1.6275605957752663</c:v>
                </c:pt>
                <c:pt idx="56">
                  <c:v>1.7212563634617233</c:v>
                </c:pt>
                <c:pt idx="57">
                  <c:v>1.7166122762892597</c:v>
                </c:pt>
                <c:pt idx="58">
                  <c:v>1.69020810604969</c:v>
                </c:pt>
                <c:pt idx="59">
                  <c:v>1.7257678608160922</c:v>
                </c:pt>
                <c:pt idx="60">
                  <c:v>1.780580973756906</c:v>
                </c:pt>
                <c:pt idx="61">
                  <c:v>1.7037242320237054</c:v>
                </c:pt>
                <c:pt idx="62">
                  <c:v>1.6232806069827526</c:v>
                </c:pt>
                <c:pt idx="63">
                  <c:v>1.6311105693039134</c:v>
                </c:pt>
                <c:pt idx="64">
                  <c:v>1.4111842742325942</c:v>
                </c:pt>
                <c:pt idx="65">
                  <c:v>1.623589518555667</c:v>
                </c:pt>
                <c:pt idx="66">
                  <c:v>1.5113158694717863</c:v>
                </c:pt>
                <c:pt idx="67">
                  <c:v>1.5126373506345983</c:v>
                </c:pt>
                <c:pt idx="68">
                  <c:v>1.6167385622973016</c:v>
                </c:pt>
                <c:pt idx="69">
                  <c:v>1.6509453140882293</c:v>
                </c:pt>
                <c:pt idx="70">
                  <c:v>1.6111822983404693</c:v>
                </c:pt>
                <c:pt idx="71">
                  <c:v>1.641727297844907</c:v>
                </c:pt>
                <c:pt idx="72">
                  <c:v>1.5930223379903703</c:v>
                </c:pt>
                <c:pt idx="73">
                  <c:v>1.531787634408602</c:v>
                </c:pt>
                <c:pt idx="74">
                  <c:v>1.6227646004418694</c:v>
                </c:pt>
                <c:pt idx="75">
                  <c:v>1.5062942116072107</c:v>
                </c:pt>
                <c:pt idx="76">
                  <c:v>1.6341683407814358</c:v>
                </c:pt>
                <c:pt idx="77">
                  <c:v>1.72659724654757</c:v>
                </c:pt>
                <c:pt idx="78">
                  <c:v>1.7145845914934</c:v>
                </c:pt>
                <c:pt idx="79">
                  <c:v>1.2930586526462224</c:v>
                </c:pt>
                <c:pt idx="80">
                  <c:v>1.4750556913882096</c:v>
                </c:pt>
                <c:pt idx="81">
                  <c:v>1.7029259970600543</c:v>
                </c:pt>
                <c:pt idx="82">
                  <c:v>1.8139711896755428</c:v>
                </c:pt>
                <c:pt idx="83">
                  <c:v>1.736331096196868</c:v>
                </c:pt>
                <c:pt idx="84">
                  <c:v>1.5134234110564193</c:v>
                </c:pt>
                <c:pt idx="85">
                  <c:v>1.390133794670734</c:v>
                </c:pt>
                <c:pt idx="86">
                  <c:v>1.3429521621521472</c:v>
                </c:pt>
                <c:pt idx="87">
                  <c:v>1.6330206107894438</c:v>
                </c:pt>
                <c:pt idx="88">
                  <c:v>1.583950712064796</c:v>
                </c:pt>
                <c:pt idx="89">
                  <c:v>1.5481317726940766</c:v>
                </c:pt>
                <c:pt idx="90">
                  <c:v>1.6778555904370924</c:v>
                </c:pt>
                <c:pt idx="91">
                  <c:v>1.8437778678556953</c:v>
                </c:pt>
                <c:pt idx="92">
                  <c:v>1.68991689814021</c:v>
                </c:pt>
                <c:pt idx="93">
                  <c:v>1.4956895654165714</c:v>
                </c:pt>
                <c:pt idx="94">
                  <c:v>1.6202459715062711</c:v>
                </c:pt>
                <c:pt idx="95">
                  <c:v>1.654551235555379</c:v>
                </c:pt>
                <c:pt idx="96">
                  <c:v>1.6034215387046749</c:v>
                </c:pt>
                <c:pt idx="97">
                  <c:v>1.7906881425026584</c:v>
                </c:pt>
                <c:pt idx="98">
                  <c:v>1.375625974025974</c:v>
                </c:pt>
                <c:pt idx="99">
                  <c:v>1.6459975603005548</c:v>
                </c:pt>
                <c:pt idx="100">
                  <c:v>1.7063260081075315</c:v>
                </c:pt>
                <c:pt idx="101">
                  <c:v>1.3476126684528331</c:v>
                </c:pt>
                <c:pt idx="102">
                  <c:v>1.3174448372546628</c:v>
                </c:pt>
                <c:pt idx="103">
                  <c:v>1.631890743920903</c:v>
                </c:pt>
              </c:numCache>
            </c:numRef>
          </c:xVal>
          <c:yVal>
            <c:numRef>
              <c:f>Sheet1!$B$2:$B$105</c:f>
              <c:numCache>
                <c:formatCode>General</c:formatCode>
                <c:ptCount val="104"/>
                <c:pt idx="0">
                  <c:v>0.02139590863378837</c:v>
                </c:pt>
                <c:pt idx="1">
                  <c:v>0.015859356905466835</c:v>
                </c:pt>
                <c:pt idx="2">
                  <c:v>0.015037051285706501</c:v>
                </c:pt>
                <c:pt idx="3">
                  <c:v>0.017460660033615016</c:v>
                </c:pt>
                <c:pt idx="4">
                  <c:v>0.018128442918272397</c:v>
                </c:pt>
                <c:pt idx="5">
                  <c:v>0.017316691740053396</c:v>
                </c:pt>
                <c:pt idx="6">
                  <c:v>0.020991433316317167</c:v>
                </c:pt>
                <c:pt idx="7">
                  <c:v>0.03686654233796614</c:v>
                </c:pt>
                <c:pt idx="8">
                  <c:v>0.020456695721996557</c:v>
                </c:pt>
                <c:pt idx="9">
                  <c:v>0.014897604404702152</c:v>
                </c:pt>
                <c:pt idx="10">
                  <c:v>0.019319798925546448</c:v>
                </c:pt>
                <c:pt idx="11">
                  <c:v>0.023219567651998934</c:v>
                </c:pt>
                <c:pt idx="12">
                  <c:v>0.023318726015860047</c:v>
                </c:pt>
                <c:pt idx="13">
                  <c:v>0.018821771577189797</c:v>
                </c:pt>
                <c:pt idx="14">
                  <c:v>0.014838961816741792</c:v>
                </c:pt>
                <c:pt idx="15">
                  <c:v>0.014585383544327236</c:v>
                </c:pt>
                <c:pt idx="16">
                  <c:v>0.02226733279881397</c:v>
                </c:pt>
                <c:pt idx="17">
                  <c:v>0.023399941370473916</c:v>
                </c:pt>
                <c:pt idx="18">
                  <c:v>0.014934644090153201</c:v>
                </c:pt>
                <c:pt idx="19">
                  <c:v>0.025931311056339064</c:v>
                </c:pt>
                <c:pt idx="20">
                  <c:v>0.04591725492123627</c:v>
                </c:pt>
                <c:pt idx="21">
                  <c:v>0.043887347425436894</c:v>
                </c:pt>
                <c:pt idx="22">
                  <c:v>0.016971444771798065</c:v>
                </c:pt>
                <c:pt idx="23">
                  <c:v>0.01919193760023327</c:v>
                </c:pt>
                <c:pt idx="24">
                  <c:v>0.01539144538598308</c:v>
                </c:pt>
                <c:pt idx="25">
                  <c:v>0.022405746354793473</c:v>
                </c:pt>
                <c:pt idx="26">
                  <c:v>0.017201582287320043</c:v>
                </c:pt>
                <c:pt idx="27">
                  <c:v>0.03222748202890183</c:v>
                </c:pt>
                <c:pt idx="28">
                  <c:v>0.027054168531857457</c:v>
                </c:pt>
                <c:pt idx="29">
                  <c:v>0.019431246197305994</c:v>
                </c:pt>
                <c:pt idx="30">
                  <c:v>0.020483869679834732</c:v>
                </c:pt>
                <c:pt idx="31">
                  <c:v>0.03339977114361888</c:v>
                </c:pt>
                <c:pt idx="32">
                  <c:v>0.02518205270407455</c:v>
                </c:pt>
                <c:pt idx="33">
                  <c:v>0.02084696238333452</c:v>
                </c:pt>
                <c:pt idx="34">
                  <c:v>0.0192519475350999</c:v>
                </c:pt>
                <c:pt idx="35">
                  <c:v>0.017546762339336098</c:v>
                </c:pt>
                <c:pt idx="36">
                  <c:v>0.017339664724554064</c:v>
                </c:pt>
                <c:pt idx="37">
                  <c:v>0.015930288969019765</c:v>
                </c:pt>
                <c:pt idx="38">
                  <c:v>0.013787278685382293</c:v>
                </c:pt>
                <c:pt idx="39">
                  <c:v>0.015211199386194082</c:v>
                </c:pt>
                <c:pt idx="40">
                  <c:v>0.016434422020687775</c:v>
                </c:pt>
                <c:pt idx="41">
                  <c:v>0.014973766356803338</c:v>
                </c:pt>
                <c:pt idx="42">
                  <c:v>0.03465381829467099</c:v>
                </c:pt>
                <c:pt idx="43">
                  <c:v>0.018246800299727445</c:v>
                </c:pt>
                <c:pt idx="44">
                  <c:v>0.012063032747401116</c:v>
                </c:pt>
                <c:pt idx="45">
                  <c:v>0.016276292101679884</c:v>
                </c:pt>
                <c:pt idx="46">
                  <c:v>0.01656860248666813</c:v>
                </c:pt>
                <c:pt idx="47">
                  <c:v>0.01662937062937063</c:v>
                </c:pt>
                <c:pt idx="48">
                  <c:v>0.011748147335494497</c:v>
                </c:pt>
                <c:pt idx="49">
                  <c:v>0.01695592176306722</c:v>
                </c:pt>
                <c:pt idx="50">
                  <c:v>0.014933307813396008</c:v>
                </c:pt>
                <c:pt idx="51">
                  <c:v>0.021668814541547916</c:v>
                </c:pt>
                <c:pt idx="52">
                  <c:v>0.02231561631086796</c:v>
                </c:pt>
                <c:pt idx="53">
                  <c:v>0.012380687924461703</c:v>
                </c:pt>
                <c:pt idx="54">
                  <c:v>0.018079199587304175</c:v>
                </c:pt>
                <c:pt idx="55">
                  <c:v>0.013280771731845572</c:v>
                </c:pt>
                <c:pt idx="56">
                  <c:v>0.013484560557427487</c:v>
                </c:pt>
                <c:pt idx="57">
                  <c:v>0.014606975898798159</c:v>
                </c:pt>
                <c:pt idx="58">
                  <c:v>0.013684346961994326</c:v>
                </c:pt>
                <c:pt idx="59">
                  <c:v>0.014388807249426386</c:v>
                </c:pt>
                <c:pt idx="60">
                  <c:v>0.011592501520319399</c:v>
                </c:pt>
                <c:pt idx="61">
                  <c:v>0.013337350345604716</c:v>
                </c:pt>
                <c:pt idx="62">
                  <c:v>0.014064048814041621</c:v>
                </c:pt>
                <c:pt idx="63">
                  <c:v>0.02842407113419542</c:v>
                </c:pt>
                <c:pt idx="64">
                  <c:v>0.023403192565511394</c:v>
                </c:pt>
                <c:pt idx="65">
                  <c:v>0.019138058599959734</c:v>
                </c:pt>
                <c:pt idx="66">
                  <c:v>0.02105587424755847</c:v>
                </c:pt>
                <c:pt idx="67">
                  <c:v>0.027301028379544342</c:v>
                </c:pt>
                <c:pt idx="68">
                  <c:v>0.015267515568952764</c:v>
                </c:pt>
                <c:pt idx="69">
                  <c:v>0.017668658797040458</c:v>
                </c:pt>
                <c:pt idx="70">
                  <c:v>0.013416731996551141</c:v>
                </c:pt>
                <c:pt idx="71">
                  <c:v>0.029603838304215657</c:v>
                </c:pt>
                <c:pt idx="72">
                  <c:v>0.03821389154838148</c:v>
                </c:pt>
                <c:pt idx="73">
                  <c:v>0.018189620158471913</c:v>
                </c:pt>
                <c:pt idx="74">
                  <c:v>0.01589731870442457</c:v>
                </c:pt>
                <c:pt idx="75">
                  <c:v>0.014542415008557744</c:v>
                </c:pt>
                <c:pt idx="76">
                  <c:v>0.016737287859171064</c:v>
                </c:pt>
                <c:pt idx="77">
                  <c:v>0.011214193066150768</c:v>
                </c:pt>
                <c:pt idx="78">
                  <c:v>0.02056803937632621</c:v>
                </c:pt>
                <c:pt idx="79">
                  <c:v>0.03404178251206793</c:v>
                </c:pt>
                <c:pt idx="80">
                  <c:v>0.028672515967723057</c:v>
                </c:pt>
                <c:pt idx="81">
                  <c:v>0.01564849964644327</c:v>
                </c:pt>
                <c:pt idx="82">
                  <c:v>0.01593270300790987</c:v>
                </c:pt>
                <c:pt idx="83">
                  <c:v>0.016625971756158354</c:v>
                </c:pt>
                <c:pt idx="84">
                  <c:v>0.015967650391008892</c:v>
                </c:pt>
                <c:pt idx="85">
                  <c:v>0.018640566704542404</c:v>
                </c:pt>
                <c:pt idx="86">
                  <c:v>0.015393178155476915</c:v>
                </c:pt>
                <c:pt idx="87">
                  <c:v>0.017144997311844195</c:v>
                </c:pt>
                <c:pt idx="88">
                  <c:v>0.012504004093535625</c:v>
                </c:pt>
                <c:pt idx="89">
                  <c:v>0.01795600857062361</c:v>
                </c:pt>
                <c:pt idx="90">
                  <c:v>0.018823626680655497</c:v>
                </c:pt>
                <c:pt idx="91">
                  <c:v>0.010799189442989176</c:v>
                </c:pt>
                <c:pt idx="92">
                  <c:v>0.02552234501550662</c:v>
                </c:pt>
                <c:pt idx="93">
                  <c:v>0.032481383515850365</c:v>
                </c:pt>
                <c:pt idx="94">
                  <c:v>0.018818965701405916</c:v>
                </c:pt>
                <c:pt idx="95">
                  <c:v>0.011676135822703418</c:v>
                </c:pt>
                <c:pt idx="96">
                  <c:v>0.013214053973825605</c:v>
                </c:pt>
                <c:pt idx="97">
                  <c:v>0.01987944926834707</c:v>
                </c:pt>
                <c:pt idx="98">
                  <c:v>0.028527837352443724</c:v>
                </c:pt>
                <c:pt idx="99">
                  <c:v>0.01800917041461542</c:v>
                </c:pt>
                <c:pt idx="100">
                  <c:v>0.017152309207239282</c:v>
                </c:pt>
                <c:pt idx="101">
                  <c:v>0.028047532533069738</c:v>
                </c:pt>
                <c:pt idx="102">
                  <c:v>0.020916011966697064</c:v>
                </c:pt>
                <c:pt idx="103">
                  <c:v>0.016362547774634726</c:v>
                </c:pt>
              </c:numCache>
            </c:numRef>
          </c:yVal>
          <c:smooth val="0"/>
          <c:extLst>
            <c:ext xmlns:c16="http://schemas.microsoft.com/office/drawing/2014/chart" uri="{C3380CC4-5D6E-409C-BE32-E72D297353CC}">
              <c16:uniqueId val="{00000000-096C-4121-9522-6AB7243CCAAE}"/>
            </c:ext>
          </c:extLst>
        </c:ser>
        <c:ser>
          <c:idx val="1"/>
          <c:order val="1"/>
          <c:tx>
            <c:strRef>
              <c:f>Sheet1!$B$107</c:f>
              <c:strCache>
                <c:ptCount val="1"/>
                <c:pt idx="0">
                  <c:v>P12M Points</c:v>
                </c:pt>
              </c:strCache>
            </c:strRef>
          </c:tx>
          <c:spPr>
            <a:ln w="19050">
              <a:noFill/>
            </a:ln>
            <a:effectLst/>
          </c:spPr>
          <c:marker>
            <c:symbol val="circle"/>
            <c:size val="5"/>
            <c:spPr>
              <a:solidFill>
                <a:srgbClr val="7ECAC4"/>
              </a:solidFill>
              <a:ln w="9525">
                <a:solidFill>
                  <a:schemeClr val="tx2"/>
                </a:solidFill>
              </a:ln>
              <a:effectLst/>
            </c:spPr>
          </c:marker>
          <c:trendline>
            <c:spPr>
              <a:ln>
                <a:solidFill>
                  <a:schemeClr val="accent1">
                    <a:alpha val="0"/>
                  </a:schemeClr>
                </a:solidFill>
              </a:ln>
            </c:spPr>
            <c:trendlineType val="linear"/>
            <c:dispRSqr val="1"/>
            <c:dispEq val="0"/>
            <c:trendlineLbl>
              <c:layout>
                <c:manualLayout>
                  <c:x val="0.10957828647779359"/>
                  <c:y val="-0.11680655886302969"/>
                </c:manualLayout>
              </c:layout>
              <c:numFmt formatCode="General" sourceLinked="0"/>
              <c:spPr>
                <a:noFill/>
                <a:ln>
                  <a:noFill/>
                </a:ln>
              </c:spPr>
              <c:txPr>
                <a:bodyPr/>
                <a:lstStyle/>
                <a:p>
                  <a:pPr algn="ctr" rtl="0">
                    <a:defRPr lang="en-US" sz="800" b="0" i="0" u="none" strike="noStrike" kern="1200" baseline="0" dirty="0">
                      <a:solidFill>
                        <a:srgbClr val="5BC2BC"/>
                      </a:solidFill>
                      <a:latin typeface="+mn-lt"/>
                      <a:ea typeface="+mn-ea"/>
                      <a:cs typeface="+mn-cs"/>
                    </a:defRPr>
                  </a:pPr>
                  <a:endParaRPr lang="en-US"/>
                </a:p>
              </c:txPr>
            </c:trendlineLbl>
          </c:trendline>
          <c:xVal>
            <c:numRef>
              <c:f>Sheet1!$A$108:$A$159</c:f>
              <c:numCache>
                <c:formatCode>General</c:formatCode>
                <c:ptCount val="52"/>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numCache>
            </c:numRef>
          </c:xVal>
          <c:yVal>
            <c:numRef>
              <c:f>Sheet1!$B$108:$B$159</c:f>
              <c:numCache>
                <c:formatCode>General</c:formatCode>
                <c:ptCount val="52"/>
                <c:pt idx="0">
                  <c:v>0.02173310547579915</c:v>
                </c:pt>
                <c:pt idx="1">
                  <c:v>0.025016798088579675</c:v>
                </c:pt>
                <c:pt idx="2">
                  <c:v>0.01599643753122361</c:v>
                </c:pt>
                <c:pt idx="3">
                  <c:v>0.027779452666365615</c:v>
                </c:pt>
                <c:pt idx="4">
                  <c:v>0.017138124665991118</c:v>
                </c:pt>
                <c:pt idx="5">
                  <c:v>0.016176531192411955</c:v>
                </c:pt>
                <c:pt idx="6">
                  <c:v>0.017211649325248452</c:v>
                </c:pt>
                <c:pt idx="7">
                  <c:v>0.016133324650244776</c:v>
                </c:pt>
                <c:pt idx="8">
                  <c:v>0.017084073258142204</c:v>
                </c:pt>
                <c:pt idx="9">
                  <c:v>0.014483206848513447</c:v>
                </c:pt>
                <c:pt idx="10">
                  <c:v>0.018816085379840274</c:v>
                </c:pt>
                <c:pt idx="11">
                  <c:v>0.03370170726935291</c:v>
                </c:pt>
                <c:pt idx="12">
                  <c:v>0.023655484003093787</c:v>
                </c:pt>
                <c:pt idx="13">
                  <c:v>0.01873014598519379</c:v>
                </c:pt>
                <c:pt idx="14">
                  <c:v>0.02482463075204859</c:v>
                </c:pt>
                <c:pt idx="15">
                  <c:v>0.026235111267600624</c:v>
                </c:pt>
                <c:pt idx="16">
                  <c:v>0.013965297256530656</c:v>
                </c:pt>
                <c:pt idx="17">
                  <c:v>0.021291216528292533</c:v>
                </c:pt>
                <c:pt idx="18">
                  <c:v>0.023270951095837707</c:v>
                </c:pt>
                <c:pt idx="19">
                  <c:v>0.042697900155815906</c:v>
                </c:pt>
                <c:pt idx="20">
                  <c:v>0.03907916023742462</c:v>
                </c:pt>
                <c:pt idx="21">
                  <c:v>0.030702242068698656</c:v>
                </c:pt>
                <c:pt idx="22">
                  <c:v>0.027497192433205465</c:v>
                </c:pt>
                <c:pt idx="23">
                  <c:v>0.01395509930316805</c:v>
                </c:pt>
                <c:pt idx="24">
                  <c:v>0.01629327622844334</c:v>
                </c:pt>
                <c:pt idx="25">
                  <c:v>0.02317827231221101</c:v>
                </c:pt>
                <c:pt idx="26">
                  <c:v>0.017270888033946604</c:v>
                </c:pt>
                <c:pt idx="27">
                  <c:v>0.022128299578112853</c:v>
                </c:pt>
                <c:pt idx="28">
                  <c:v>0.02709615182543111</c:v>
                </c:pt>
                <c:pt idx="29">
                  <c:v>0.02129635717060634</c:v>
                </c:pt>
                <c:pt idx="30">
                  <c:v>0.01801409901374564</c:v>
                </c:pt>
                <c:pt idx="31">
                  <c:v>0.018305256068577785</c:v>
                </c:pt>
                <c:pt idx="32">
                  <c:v>0.02745890969765482</c:v>
                </c:pt>
                <c:pt idx="33">
                  <c:v>0.032603324106546296</c:v>
                </c:pt>
                <c:pt idx="34">
                  <c:v>0.026605929378922834</c:v>
                </c:pt>
                <c:pt idx="35">
                  <c:v>0.015725598346168594</c:v>
                </c:pt>
                <c:pt idx="36">
                  <c:v>0.02529866786428847</c:v>
                </c:pt>
                <c:pt idx="37">
                  <c:v>0.02456048192465197</c:v>
                </c:pt>
                <c:pt idx="38">
                  <c:v>0.015025468203252988</c:v>
                </c:pt>
                <c:pt idx="39">
                  <c:v>0.016748129061961183</c:v>
                </c:pt>
                <c:pt idx="40">
                  <c:v>0.02531100531646196</c:v>
                </c:pt>
                <c:pt idx="41">
                  <c:v>0.029334729872635346</c:v>
                </c:pt>
                <c:pt idx="42">
                  <c:v>0.015495406916481389</c:v>
                </c:pt>
                <c:pt idx="43">
                  <c:v>0.01827637088351682</c:v>
                </c:pt>
                <c:pt idx="44">
                  <c:v>0.015253108816355141</c:v>
                </c:pt>
                <c:pt idx="45">
                  <c:v>0.02144626684768486</c:v>
                </c:pt>
                <c:pt idx="46">
                  <c:v>0.01700360620080989</c:v>
                </c:pt>
                <c:pt idx="47">
                  <c:v>0.011145935087826974</c:v>
                </c:pt>
                <c:pt idx="48">
                  <c:v>0.012050730928824045</c:v>
                </c:pt>
                <c:pt idx="49">
                  <c:v>0.015109593680547128</c:v>
                </c:pt>
                <c:pt idx="50">
                  <c:v>0.012783263584994166</c:v>
                </c:pt>
                <c:pt idx="51">
                  <c:v>0.013014867508862049</c:v>
                </c:pt>
              </c:numCache>
            </c:numRef>
          </c:yVal>
          <c:smooth val="0"/>
          <c:extLst>
            <c:ext xmlns:c16="http://schemas.microsoft.com/office/drawing/2014/chart" uri="{C3380CC4-5D6E-409C-BE32-E72D297353CC}">
              <c16:uniqueId val="{00000002-096C-4121-9522-6AB7243CCAAE}"/>
            </c:ext>
          </c:extLst>
        </c:ser>
        <c:ser>
          <c:idx val="2"/>
          <c:order val="2"/>
          <c:tx>
            <c:strRef>
              <c:f>Sheet1!$B$161</c:f>
              <c:strCache>
                <c:ptCount val="1"/>
                <c:pt idx="0">
                  <c:v>Custom Line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4-096C-4121-9522-6AB7243CCAAE}"/>
              </c:ext>
            </c:extLst>
          </c:dPt>
          <c:xVal>
            <c:numRef>
              <c:f>Sheet1!$A$162:$A$163</c:f>
              <c:numCache>
                <c:formatCode>General</c:formatCode>
                <c:ptCount val="2"/>
                <c:pt idx="0">
                  <c:v>0</c:v>
                </c:pt>
                <c:pt idx="1">
                  <c:v>1.512202020722272</c:v>
                </c:pt>
              </c:numCache>
            </c:numRef>
          </c:xVal>
          <c:yVal>
            <c:numRef>
              <c:f>Sheet1!$B$162:$B$163</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5-096C-4121-9522-6AB7243CCAAE}"/>
            </c:ext>
          </c:extLst>
        </c:ser>
        <c:ser>
          <c:idx val="3"/>
          <c:order val="3"/>
          <c:tx>
            <c:strRef>
              <c:f>Sheet1!$B$165</c:f>
              <c:strCache>
                <c:ptCount val="1"/>
                <c:pt idx="0">
                  <c:v>Custom Line2p3yQ</c:v>
                </c:pt>
              </c:strCache>
            </c:strRef>
          </c:tx>
          <c:spPr>
            <a:ln>
              <a:solidFill>
                <a:srgbClr val="C00000"/>
              </a:solidFill>
            </a:ln>
            <a:effectLst/>
          </c:spPr>
          <c:marker>
            <c:symbol val="none"/>
          </c:marker>
          <c:dPt>
            <c:idx val="1"/>
            <c:bubble3D val="0"/>
            <c:spPr>
              <a:ln>
                <a:solidFill>
                  <a:srgbClr val="C00000"/>
                </a:solidFill>
                <a:prstDash val="sysDot"/>
              </a:ln>
              <a:effectLst/>
            </c:spPr>
            <c:extLst>
              <c:ext xmlns:c16="http://schemas.microsoft.com/office/drawing/2014/chart" uri="{C3380CC4-5D6E-409C-BE32-E72D297353CC}">
                <c16:uniqueId val="{0000000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66:$A$167</c:f>
              <c:numCache>
                <c:formatCode>General</c:formatCode>
                <c:ptCount val="2"/>
                <c:pt idx="0">
                  <c:v>1.512202020722272</c:v>
                </c:pt>
                <c:pt idx="1">
                  <c:v>1.512202020722272</c:v>
                </c:pt>
              </c:numCache>
            </c:numRef>
          </c:xVal>
          <c:yVal>
            <c:numRef>
              <c:f>Sheet1!$B$166:$B$167</c:f>
              <c:numCache>
                <c:formatCode>General</c:formatCode>
                <c:ptCount val="2"/>
                <c:pt idx="0">
                  <c:v>0.025496395296018732</c:v>
                </c:pt>
                <c:pt idx="1">
                  <c:v>0</c:v>
                </c:pt>
              </c:numCache>
            </c:numRef>
          </c:yVal>
          <c:smooth val="0"/>
          <c:extLst>
            <c:ext xmlns:c16="http://schemas.microsoft.com/office/drawing/2014/chart" uri="{C3380CC4-5D6E-409C-BE32-E72D297353CC}">
              <c16:uniqueId val="{0000000A-096C-4121-9522-6AB7243CCAAE}"/>
            </c:ext>
          </c:extLst>
        </c:ser>
        <c:ser>
          <c:idx val="4"/>
          <c:order val="4"/>
          <c:tx>
            <c:strRef>
              <c:f>Sheet1!$B$169</c:f>
              <c:strCache>
                <c:ptCount val="1"/>
                <c:pt idx="0">
                  <c:v>Custom Line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C-096C-4121-9522-6AB7243CCAAE}"/>
              </c:ext>
            </c:extLst>
          </c:dPt>
          <c:xVal>
            <c:numRef>
              <c:f>Sheet1!$A$170:$A$171</c:f>
              <c:numCache>
                <c:formatCode>General</c:formatCode>
                <c:ptCount val="2"/>
                <c:pt idx="0">
                  <c:v>0</c:v>
                </c:pt>
                <c:pt idx="1">
                  <c:v>1.512202020722272</c:v>
                </c:pt>
              </c:numCache>
            </c:numRef>
          </c:xVal>
          <c:yVal>
            <c:numRef>
              <c:f>Sheet1!$B$170:$B$171</c:f>
              <c:numCache>
                <c:formatCode>General</c:formatCode>
                <c:ptCount val="2"/>
                <c:pt idx="0">
                  <c:v>0.025496395296018732</c:v>
                </c:pt>
                <c:pt idx="1">
                  <c:v>0.025496395296018732</c:v>
                </c:pt>
              </c:numCache>
            </c:numRef>
          </c:yVal>
          <c:smooth val="0"/>
          <c:extLst>
            <c:ext xmlns:c16="http://schemas.microsoft.com/office/drawing/2014/chart" uri="{C3380CC4-5D6E-409C-BE32-E72D297353CC}">
              <c16:uniqueId val="{0000000D-096C-4121-9522-6AB7243CCAAE}"/>
            </c:ext>
          </c:extLst>
        </c:ser>
        <c:ser>
          <c:idx val="5"/>
          <c:order val="5"/>
          <c:tx>
            <c:strRef>
              <c:f>Sheet1!$B$173</c:f>
              <c:strCache>
                <c:ptCount val="1"/>
                <c:pt idx="0">
                  <c:v>Custom Line2p12mQ</c:v>
                </c:pt>
              </c:strCache>
            </c:strRef>
          </c:tx>
          <c:spPr>
            <a:ln>
              <a:solidFill>
                <a:srgbClr val="00A097"/>
              </a:solidFill>
            </a:ln>
            <a:effectLst/>
          </c:spPr>
          <c:marker>
            <c:symbol val="none"/>
          </c:marker>
          <c:dPt>
            <c:idx val="1"/>
            <c:bubble3D val="0"/>
            <c:spPr>
              <a:ln>
                <a:solidFill>
                  <a:srgbClr val="00A097"/>
                </a:solidFill>
                <a:prstDash val="sysDot"/>
              </a:ln>
              <a:effectLst/>
            </c:spPr>
            <c:extLst>
              <c:ext xmlns:c16="http://schemas.microsoft.com/office/drawing/2014/chart" uri="{C3380CC4-5D6E-409C-BE32-E72D297353CC}">
                <c16:uniqueId val="{0000000F-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74:$A$175</c:f>
              <c:numCache>
                <c:formatCode>General</c:formatCode>
                <c:ptCount val="2"/>
                <c:pt idx="0">
                  <c:v>1.512202020722272</c:v>
                </c:pt>
                <c:pt idx="1">
                  <c:v>1.512202020722272</c:v>
                </c:pt>
              </c:numCache>
            </c:numRef>
          </c:xVal>
          <c:yVal>
            <c:numRef>
              <c:f>Sheet1!$B$174:$B$175</c:f>
              <c:numCache>
                <c:formatCode>General</c:formatCode>
                <c:ptCount val="2"/>
                <c:pt idx="0">
                  <c:v>0.025496395296018732</c:v>
                </c:pt>
                <c:pt idx="1">
                  <c:v>0</c:v>
                </c:pt>
              </c:numCache>
            </c:numRef>
          </c:yVal>
          <c:smooth val="0"/>
          <c:extLst>
            <c:ext xmlns:c16="http://schemas.microsoft.com/office/drawing/2014/chart" uri="{C3380CC4-5D6E-409C-BE32-E72D297353CC}">
              <c16:uniqueId val="{00000012-096C-4121-9522-6AB7243CCAAE}"/>
            </c:ext>
          </c:extLst>
        </c:ser>
        <c:ser>
          <c:idx val="6"/>
          <c:order val="6"/>
          <c:tx>
            <c:strRef>
              <c:f>Sheet1!$B$177</c:f>
              <c:strCache>
                <c:ptCount val="1"/>
                <c:pt idx="0">
                  <c:v>Custom Line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4-096C-4121-9522-6AB7243CCAAE}"/>
              </c:ext>
            </c:extLst>
          </c:dPt>
          <c:xVal>
            <c:numRef>
              <c:f>Sheet1!$A$178:$A$179</c:f>
              <c:numCache>
                <c:formatCode>General</c:formatCode>
                <c:ptCount val="2"/>
                <c:pt idx="0">
                  <c:v>0</c:v>
                </c:pt>
                <c:pt idx="1">
                  <c:v>1.7292117746647364</c:v>
                </c:pt>
              </c:numCache>
            </c:numRef>
          </c:xVal>
          <c:yVal>
            <c:numRef>
              <c:f>Sheet1!$B$178:$B$179</c:f>
              <c:numCache>
                <c:formatCode>General</c:formatCode>
                <c:ptCount val="2"/>
                <c:pt idx="0">
                  <c:v>0.017151770362073916</c:v>
                </c:pt>
                <c:pt idx="1">
                  <c:v>0.017151770362073916</c:v>
                </c:pt>
              </c:numCache>
            </c:numRef>
          </c:yVal>
          <c:smooth val="0"/>
          <c:extLst>
            <c:ext xmlns:c16="http://schemas.microsoft.com/office/drawing/2014/chart" uri="{C3380CC4-5D6E-409C-BE32-E72D297353CC}">
              <c16:uniqueId val="{00000015-096C-4121-9522-6AB7243CCAAE}"/>
            </c:ext>
          </c:extLst>
        </c:ser>
        <c:ser>
          <c:idx val="7"/>
          <c:order val="7"/>
          <c:tx>
            <c:strRef>
              <c:f>Sheet1!$B$181</c:f>
              <c:strCache>
                <c:ptCount val="1"/>
                <c:pt idx="0">
                  <c:v>Custom Line2p3m</c:v>
                </c:pt>
              </c:strCache>
            </c:strRef>
          </c:tx>
          <c:spPr>
            <a:ln>
              <a:solidFill>
                <a:srgbClr val="575555"/>
              </a:solidFill>
            </a:ln>
            <a:effectLst/>
          </c:spPr>
          <c:marker>
            <c:symbol val="none"/>
          </c:marker>
          <c:dPt>
            <c:idx val="1"/>
            <c:bubble3D val="0"/>
            <c:spPr>
              <a:ln>
                <a:solidFill>
                  <a:srgbClr val="575555"/>
                </a:solidFill>
                <a:prstDash val="sysDot"/>
              </a:ln>
              <a:effectLst/>
            </c:spPr>
            <c:extLst>
              <c:ext xmlns:c16="http://schemas.microsoft.com/office/drawing/2014/chart" uri="{C3380CC4-5D6E-409C-BE32-E72D297353CC}">
                <c16:uniqueId val="{00000017-096C-4121-9522-6AB7243CCAAE}"/>
              </c:ext>
            </c:extLst>
          </c:dPt>
          <c:trendline>
            <c:spPr>
              <a:ln w="19050">
                <a:solidFill>
                  <a:schemeClr val="accent1">
                    <a:lumMod val="50000"/>
                  </a:schemeClr>
                </a:solidFill>
                <a:prstDash val="sysDot"/>
              </a:ln>
            </c:spPr>
            <c:trendlineType val="linear"/>
            <c:dispRSqr val="0"/>
            <c:dispEq val="0"/>
          </c:trendline>
          <c:trendline>
            <c:trendlineType val="linear"/>
            <c:dispRSqr val="0"/>
            <c:dispEq val="0"/>
          </c:trendline>
          <c:xVal>
            <c:numRef>
              <c:f>Sheet1!$A$182:$A$183</c:f>
              <c:numCache>
                <c:formatCode>General</c:formatCode>
                <c:ptCount val="2"/>
                <c:pt idx="0">
                  <c:v>1.7292117746647364</c:v>
                </c:pt>
                <c:pt idx="1">
                  <c:v>1.7292117746647364</c:v>
                </c:pt>
              </c:numCache>
            </c:numRef>
          </c:xVal>
          <c:yVal>
            <c:numRef>
              <c:f>Sheet1!$B$182:$B$183</c:f>
              <c:numCache>
                <c:formatCode>General</c:formatCode>
                <c:ptCount val="2"/>
                <c:pt idx="0">
                  <c:v>0.017151770362073916</c:v>
                </c:pt>
                <c:pt idx="1">
                  <c:v>0</c:v>
                </c:pt>
              </c:numCache>
            </c:numRef>
          </c:yVal>
          <c:smooth val="0"/>
          <c:extLst>
            <c:ext xmlns:c16="http://schemas.microsoft.com/office/drawing/2014/chart" uri="{C3380CC4-5D6E-409C-BE32-E72D297353CC}">
              <c16:uniqueId val="{0000001A-096C-4121-9522-6AB7243CCAAE}"/>
            </c:ext>
          </c:extLst>
        </c:ser>
        <c:ser>
          <c:idx val="8"/>
          <c:order val="8"/>
          <c:tx>
            <c:strRef>
              <c:f>Sheet1!$B$185</c:f>
              <c:strCache>
                <c:ptCount val="1"/>
                <c:pt idx="0">
                  <c:v>Y_Hat</c:v>
                </c:pt>
              </c:strCache>
            </c:strRef>
          </c:tx>
          <c:spPr>
            <a:ln>
              <a:solidFill>
                <a:schemeClr val="bg1"/>
              </a:solidFill>
            </a:ln>
            <a:effectLst/>
          </c:spPr>
          <c:marker>
            <c:symbol val="none"/>
          </c:marker>
          <c:dPt>
            <c:idx val="1"/>
            <c:bubble3D val="0"/>
            <c:spPr>
              <a:ln>
                <a:solidFill>
                  <a:schemeClr val="bg1"/>
                </a:solidFill>
                <a:prstDash val="sysDot"/>
              </a:ln>
              <a:effectLst/>
            </c:spPr>
            <c:extLst>
              <c:ext xmlns:c16="http://schemas.microsoft.com/office/drawing/2014/chart" uri="{C3380CC4-5D6E-409C-BE32-E72D297353CC}">
                <c16:uniqueId val="{0000001C-096C-4121-9522-6AB7243CCAAE}"/>
              </c:ext>
            </c:extLst>
          </c:dPt>
          <c:trendline>
            <c:spPr>
              <a:ln w="19050" cmpd="sng">
                <a:solidFill>
                  <a:schemeClr val="accent1"/>
                </a:solidFill>
                <a:prstDash val="sysDot"/>
              </a:ln>
            </c:spPr>
            <c:trendlineType val="linear"/>
            <c:dispRSqr val="0"/>
            <c:dispEq val="0"/>
          </c:trendline>
          <c:xVal>
            <c:numRef>
              <c:f>Sheet1!$A$186:$A$240</c:f>
              <c:numCache>
                <c:formatCode>General</c:formatCode>
                <c:ptCount val="55"/>
                <c:pt idx="0">
                  <c:v>1.6883802640164636</c:v>
                </c:pt>
                <c:pt idx="1">
                  <c:v>1.5678409720497488</c:v>
                </c:pt>
                <c:pt idx="2">
                  <c:v>1.6798997995991982</c:v>
                </c:pt>
                <c:pt idx="3">
                  <c:v>1.603988252931633</c:v>
                </c:pt>
                <c:pt idx="4">
                  <c:v>1.6818288946500117</c:v>
                </c:pt>
                <c:pt idx="5">
                  <c:v>1.6756658039739523</c:v>
                </c:pt>
                <c:pt idx="6">
                  <c:v>1.7401317598407444</c:v>
                </c:pt>
                <c:pt idx="7">
                  <c:v>1.6726818258521767</c:v>
                </c:pt>
                <c:pt idx="8">
                  <c:v>1.5477218272905489</c:v>
                </c:pt>
                <c:pt idx="9">
                  <c:v>1.706596690566954</c:v>
                </c:pt>
                <c:pt idx="10">
                  <c:v>1.6995910870088125</c:v>
                </c:pt>
                <c:pt idx="11">
                  <c:v>1.3729133825387048</c:v>
                </c:pt>
                <c:pt idx="12">
                  <c:v>1.4712016945545208</c:v>
                </c:pt>
                <c:pt idx="13">
                  <c:v>1.5997065933838874</c:v>
                </c:pt>
                <c:pt idx="14">
                  <c:v>1.4699427187057301</c:v>
                </c:pt>
                <c:pt idx="15">
                  <c:v>1.609386955934645</c:v>
                </c:pt>
                <c:pt idx="16">
                  <c:v>1.659269636091566</c:v>
                </c:pt>
                <c:pt idx="17">
                  <c:v>1.6403515218966223</c:v>
                </c:pt>
                <c:pt idx="18">
                  <c:v>1.5122002544310214</c:v>
                </c:pt>
                <c:pt idx="19">
                  <c:v>1.5487446410521544</c:v>
                </c:pt>
                <c:pt idx="20">
                  <c:v>1.5135031213245274</c:v>
                </c:pt>
                <c:pt idx="21">
                  <c:v>1.611401258794565</c:v>
                </c:pt>
                <c:pt idx="22">
                  <c:v>1.494045895817652</c:v>
                </c:pt>
                <c:pt idx="23">
                  <c:v>1.6419580563290552</c:v>
                </c:pt>
                <c:pt idx="24">
                  <c:v>1.5894598234927526</c:v>
                </c:pt>
                <c:pt idx="25">
                  <c:v>1.5305931853483021</c:v>
                </c:pt>
                <c:pt idx="26">
                  <c:v>1.6243822964545434</c:v>
                </c:pt>
                <c:pt idx="27">
                  <c:v>1.4962697423108893</c:v>
                </c:pt>
                <c:pt idx="28">
                  <c:v>1.45063093939866</c:v>
                </c:pt>
                <c:pt idx="29">
                  <c:v>1.6702616182801635</c:v>
                </c:pt>
                <c:pt idx="30">
                  <c:v>1.581499129383061</c:v>
                </c:pt>
                <c:pt idx="31">
                  <c:v>1.7125085609709543</c:v>
                </c:pt>
                <c:pt idx="32">
                  <c:v>1.5482331053799052</c:v>
                </c:pt>
                <c:pt idx="33">
                  <c:v>1.621128821299519</c:v>
                </c:pt>
                <c:pt idx="34">
                  <c:v>1.4478490640588728</c:v>
                </c:pt>
                <c:pt idx="35">
                  <c:v>1.6244482037216845</c:v>
                </c:pt>
                <c:pt idx="36">
                  <c:v>1.561987291825698</c:v>
                </c:pt>
                <c:pt idx="37">
                  <c:v>1.477367621462276</c:v>
                </c:pt>
                <c:pt idx="38">
                  <c:v>1.7195754495454976</c:v>
                </c:pt>
                <c:pt idx="39">
                  <c:v>1.6498036008199288</c:v>
                </c:pt>
                <c:pt idx="40">
                  <c:v>1.6969233401435173</c:v>
                </c:pt>
                <c:pt idx="41">
                  <c:v>1.7076086034277955</c:v>
                </c:pt>
                <c:pt idx="42">
                  <c:v>1.6742789936592348</c:v>
                </c:pt>
                <c:pt idx="43">
                  <c:v>1.6534255185417976</c:v>
                </c:pt>
                <c:pt idx="44">
                  <c:v>1.636632127443766</c:v>
                </c:pt>
                <c:pt idx="45">
                  <c:v>1.5911324831589204</c:v>
                </c:pt>
                <c:pt idx="46">
                  <c:v>1.8373809963952306</c:v>
                </c:pt>
                <c:pt idx="47">
                  <c:v>1.8698903612897655</c:v>
                </c:pt>
                <c:pt idx="48">
                  <c:v>1.9207425559770384</c:v>
                </c:pt>
                <c:pt idx="49">
                  <c:v>1.7733992898139672</c:v>
                </c:pt>
                <c:pt idx="50">
                  <c:v>1.7816938562280817</c:v>
                </c:pt>
                <c:pt idx="51">
                  <c:v>1.622673739099164</c:v>
                </c:pt>
                <c:pt idx="52">
                  <c:v>1.512202020722272</c:v>
                </c:pt>
                <c:pt idx="53">
                  <c:v>1.512202020722272</c:v>
                </c:pt>
                <c:pt idx="54">
                  <c:v>1.7292117746647364</c:v>
                </c:pt>
              </c:numCache>
            </c:numRef>
          </c:xVal>
          <c:yVal>
            <c:numRef>
              <c:f>Sheet1!$B$186:$B$240</c:f>
              <c:numCache>
                <c:formatCode>General</c:formatCode>
                <c:ptCount val="55"/>
                <c:pt idx="0">
                  <c:v>0.018721854819828507</c:v>
                </c:pt>
                <c:pt idx="1">
                  <c:v>0.023356923810931005</c:v>
                </c:pt>
                <c:pt idx="2">
                  <c:v>0.01904795211979829</c:v>
                </c:pt>
                <c:pt idx="3">
                  <c:v>0.021966960936629747</c:v>
                </c:pt>
                <c:pt idx="4">
                  <c:v>0.018973773082365544</c:v>
                </c:pt>
                <c:pt idx="5">
                  <c:v>0.019210760955911746</c:v>
                </c:pt>
                <c:pt idx="6">
                  <c:v>0.016731866745196944</c:v>
                </c:pt>
                <c:pt idx="7">
                  <c:v>0.01932550316350816</c:v>
                </c:pt>
                <c:pt idx="8">
                  <c:v>0.024130560543645686</c:v>
                </c:pt>
                <c:pt idx="9">
                  <c:v>0.018021382862052363</c:v>
                </c:pt>
                <c:pt idx="10">
                  <c:v>0.018290767684930417</c:v>
                </c:pt>
                <c:pt idx="11">
                  <c:v>0.03085242847925515</c:v>
                </c:pt>
                <c:pt idx="12">
                  <c:v>0.0270729711771655</c:v>
                </c:pt>
                <c:pt idx="13">
                  <c:v>0.022131602582323946</c:v>
                </c:pt>
                <c:pt idx="14">
                  <c:v>0.02712138227882427</c:v>
                </c:pt>
                <c:pt idx="15">
                  <c:v>0.02175936588216118</c:v>
                </c:pt>
                <c:pt idx="16">
                  <c:v>0.01984123893603415</c:v>
                </c:pt>
                <c:pt idx="17">
                  <c:v>0.02056869272346251</c:v>
                </c:pt>
                <c:pt idx="18">
                  <c:v>0.025496463214799987</c:v>
                </c:pt>
                <c:pt idx="19">
                  <c:v>0.024091230527078143</c:v>
                </c:pt>
                <c:pt idx="20">
                  <c:v>0.02544636438114091</c:v>
                </c:pt>
                <c:pt idx="21">
                  <c:v>0.021681910368922537</c:v>
                </c:pt>
                <c:pt idx="22">
                  <c:v>0.0261945484888152</c:v>
                </c:pt>
                <c:pt idx="23">
                  <c:v>0.020506917033482813</c:v>
                </c:pt>
                <c:pt idx="24">
                  <c:v>0.022525619210482642</c:v>
                </c:pt>
                <c:pt idx="25">
                  <c:v>0.024789204176197704</c:v>
                </c:pt>
                <c:pt idx="26">
                  <c:v>0.02118275358652901</c:v>
                </c:pt>
                <c:pt idx="27">
                  <c:v>0.026109035443619755</c:v>
                </c:pt>
                <c:pt idx="28">
                  <c:v>0.027863973578049192</c:v>
                </c:pt>
                <c:pt idx="29">
                  <c:v>0.01941856683499686</c:v>
                </c:pt>
                <c:pt idx="30">
                  <c:v>0.02283172990528972</c:v>
                </c:pt>
                <c:pt idx="31">
                  <c:v>0.017794055102432163</c:v>
                </c:pt>
                <c:pt idx="32">
                  <c:v>0.024110900487749054</c:v>
                </c:pt>
                <c:pt idx="33">
                  <c:v>0.02130785870004287</c:v>
                </c:pt>
                <c:pt idx="34">
                  <c:v>0.027970944374991667</c:v>
                </c:pt>
                <c:pt idx="35">
                  <c:v>0.02118021926991548</c:v>
                </c:pt>
                <c:pt idx="36">
                  <c:v>0.02358201399727306</c:v>
                </c:pt>
                <c:pt idx="37">
                  <c:v>0.026835874242670213</c:v>
                </c:pt>
                <c:pt idx="38">
                  <c:v>0.017522313701259118</c:v>
                </c:pt>
                <c:pt idx="39">
                  <c:v>0.02020523415983523</c:v>
                </c:pt>
                <c:pt idx="40">
                  <c:v>0.018393349926535546</c:v>
                </c:pt>
                <c:pt idx="41">
                  <c:v>0.017982472015253298</c:v>
                </c:pt>
                <c:pt idx="42">
                  <c:v>0.019264087646166925</c:v>
                </c:pt>
                <c:pt idx="43">
                  <c:v>0.020065961411115302</c:v>
                </c:pt>
                <c:pt idx="44">
                  <c:v>0.020711713721950478</c:v>
                </c:pt>
                <c:pt idx="45">
                  <c:v>0.022461300822471345</c:v>
                </c:pt>
                <c:pt idx="46">
                  <c:v>0.012992364766982567</c:v>
                </c:pt>
                <c:pt idx="47">
                  <c:v>0.011742289818934049</c:v>
                </c:pt>
                <c:pt idx="48">
                  <c:v>0.009786882359019894</c:v>
                </c:pt>
                <c:pt idx="49">
                  <c:v>0.015452638254025472</c:v>
                </c:pt>
                <c:pt idx="50">
                  <c:v>0.015133689246167356</c:v>
                </c:pt>
                <c:pt idx="51">
                  <c:v>0.021248452339924923</c:v>
                </c:pt>
                <c:pt idx="52">
                  <c:v>0.02549639529601873</c:v>
                </c:pt>
                <c:pt idx="53">
                  <c:v>0.02549639529601873</c:v>
                </c:pt>
                <c:pt idx="54">
                  <c:v>0.017151770362073923</c:v>
                </c:pt>
              </c:numCache>
            </c:numRef>
          </c:yVal>
          <c:smooth val="0"/>
          <c:extLst>
            <c:ext xmlns:c16="http://schemas.microsoft.com/office/drawing/2014/chart" uri="{C3380CC4-5D6E-409C-BE32-E72D297353CC}">
              <c16:uniqueId val="{0000001E-096C-4121-9522-6AB7243CCAAE}"/>
            </c:ext>
          </c:extLst>
        </c:ser>
        <c:dLbls>
          <c:showLegendKey val="0"/>
          <c:showVal val="0"/>
          <c:showCatName val="0"/>
          <c:showSerName val="0"/>
          <c:showPercent val="0"/>
          <c:showBubbleSize val="0"/>
        </c:dLbls>
        <c:axId val="690896736"/>
        <c:axId val="690897216"/>
      </c:scatterChart>
      <c:valAx>
        <c:axId val="690896736"/>
        <c:scaling>
          <c:orientation val="minMax"/>
          <c:max val="2.0"/>
          <c:min val="1.0"/>
        </c:scaling>
        <c:delete val="0"/>
        <c:axPos val="b"/>
        <c:title>
          <c:tx>
            <c:rich>
              <a:bodyPr rot="0" spcFirstLastPara="1" vertOverflow="ellipsis" vert="horz" wrap="square" anchor="ctr" anchorCtr="1"/>
              <a:lstStyle/>
              <a:p>
                <a:pPr>
                  <a:defRPr sz="800" b="0">
                    <a:solidFill>
                      <a:srgbClr val="575555"/>
                    </a:solidFill>
                    <a:latin typeface="Nexa Bold"/>
                  </a:defRPr>
                </a:pPr>
                <a:r>
                  <a:t>Price Ix vs. President</a:t>
                </a:r>
              </a:p>
            </c:rich>
          </c:tx>
          <c:layout>
            <c:manualLayout>
              <c:xMode val="edge"/>
              <c:yMode val="edge"/>
              <c:x val="0.42045982142857141"/>
              <c:y val="0.94543426751549908"/>
            </c:manualLayout>
          </c:layout>
          <c:overlay val="0"/>
          <c:spPr>
            <a:noFill/>
            <a:ln>
              <a:noFill/>
            </a:ln>
            <a:effectLst/>
          </c:sp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7216"/>
        <c:crosses val="autoZero"/>
        <c:crossBetween val="midCat"/>
      </c:valAx>
      <c:valAx>
        <c:axId val="690897216"/>
        <c:scaling>
          <c:orientation val="minMax"/>
          <c:max val="0.05510070590548353"/>
          <c:min val="0.00863935155439134"/>
        </c:scaling>
        <c:delete val="0"/>
        <c:axPos val="l"/>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Nexa Book" pitchFamily="2" charset="77"/>
                <a:ea typeface="Open Sans" panose="020B0606030504020204" pitchFamily="34" charset="0"/>
                <a:cs typeface="Open Sans" panose="020B0606030504020204" pitchFamily="34" charset="0"/>
              </a:defRPr>
            </a:pPr>
            <a:endParaRPr lang="en-US"/>
          </a:p>
        </c:txPr>
        <c:crossAx val="690896736"/>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CCBEC-1F93-F674-CCA9-2F2D400F36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28634-7EA5-E6F9-BF37-C19248BBD6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B34121-B1D9-D6FE-251A-BC61FAEC29F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5768522-8212-F00E-4757-7B659B12F745}"/>
              </a:ext>
            </a:extLst>
          </p:cNvPr>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ABDF813D-969A-4697-83EA-7C0DCB6CA98B}" type="slidenum">
              <a:rPr kumimoji="0" lang="en-CH"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CH"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5232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9/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9/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 Id="rId7"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 Id="rId7"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 Id="rId7" Type="http://schemas.openxmlformats.org/officeDocument/2006/relationships/chart" Target="../charts/chart2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 Id="rId7" Type="http://schemas.openxmlformats.org/officeDocument/2006/relationships/chart" Target="../charts/chart3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 Id="rId7" Type="http://schemas.openxmlformats.org/officeDocument/2006/relationships/chart" Target="../charts/chart3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 Id="rId7" Type="http://schemas.openxmlformats.org/officeDocument/2006/relationships/chart" Target="../charts/chart36.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 Id="rId7" Type="http://schemas.openxmlformats.org/officeDocument/2006/relationships/chart" Target="../charts/chart4.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 Id="rId7"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 Id="rId7" Type="http://schemas.openxmlformats.org/officeDocument/2006/relationships/chart" Target="../charts/chart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 Id="rId7" Type="http://schemas.openxmlformats.org/officeDocument/2006/relationships/chart" Target="../charts/chart1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 Id="rId7" Type="http://schemas.openxmlformats.org/officeDocument/2006/relationships/chart" Target="../charts/chart1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1378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51832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70760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Tartare | Frais A Tartiner | NATIONAL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19054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t Moret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992122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7254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aysan Breton | Frais A Tartiner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7906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St Moret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41899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Private Label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9915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Kiri vs Tartare | Frais A Tartiner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8868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esident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90106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Soignon | Soft Cheese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a:p>
            <a:r>
              <a:rPr sz="700">
                <a:solidFill>
                  <a:srgbClr val="C00000"/>
                </a:solidFill>
                <a:latin typeface="Nexa Book"/>
              </a:rPr>
              <a:t>--- P3Y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5964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ivate Label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37783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President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61903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Boursin vs Soignon | Soft Cheese | Intermarche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041055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Mini Baby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20359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Private Label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4028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A138F2-0C96-B730-5B4B-BA25F35ADD19}"/>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41EA395-ACA4-921E-70C8-C20FB528363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341EA395-ACA4-921E-70C8-C20FB52836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F833524-12C4-0F3F-6014-CF0559B4E934}"/>
              </a:ext>
            </a:extLst>
          </p:cNvPr>
          <p:cNvSpPr>
            <a:spLocks noGrp="1"/>
          </p:cNvSpPr>
          <p:nvPr>
            <p:ph type="dt" sz="half" idx="14"/>
          </p:nvPr>
        </p:nvSpPr>
        <p:spPr>
          <a:xfrm>
            <a:off x="8082390" y="4972050"/>
            <a:ext cx="557609" cy="17145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229C61AF-0737-4A0D-BFD0-BB76DDCE4FD6}"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9/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Footer Placeholder 8">
            <a:extLst>
              <a:ext uri="{FF2B5EF4-FFF2-40B4-BE49-F238E27FC236}">
                <a16:creationId xmlns:a16="http://schemas.microsoft.com/office/drawing/2014/main" id="{1DBF0116-819C-14AE-7F63-0DD8A7F6A95F}"/>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2" name="Slide Number Placeholder 1">
            <a:extLst>
              <a:ext uri="{FF2B5EF4-FFF2-40B4-BE49-F238E27FC236}">
                <a16:creationId xmlns:a16="http://schemas.microsoft.com/office/drawing/2014/main" id="{FB46D1F9-05B6-0C8B-DC81-E7937986E648}"/>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4" name="SRC">
            <a:extLst>
              <a:ext uri="{FF2B5EF4-FFF2-40B4-BE49-F238E27FC236}">
                <a16:creationId xmlns:a16="http://schemas.microsoft.com/office/drawing/2014/main" id="{D94C4C75-8055-FED2-0408-96D0D9DB1524}"/>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2" name="MT">
            <a:extLst>
              <a:ext uri="{FF2B5EF4-FFF2-40B4-BE49-F238E27FC236}">
                <a16:creationId xmlns:a16="http://schemas.microsoft.com/office/drawing/2014/main" id="{5F9912D7-E903-7DED-541C-2FB7358973ED}"/>
              </a:ext>
            </a:extLst>
          </p:cNvPr>
          <p:cNvSpPr>
            <a:spLocks noGrp="1"/>
          </p:cNvSpPr>
          <p:nvPr>
            <p:ph type="body" sz="quarter" idx="18"/>
          </p:nvPr>
        </p:nvSpPr>
        <p:spPr>
          <a:xfrm>
            <a:off x="503238" y="774000"/>
            <a:ext cx="8136762" cy="360000"/>
          </a:xfrm>
        </p:spPr>
        <p:txBody>
          <a:bodyPr>
            <a:normAutofit fontScale="92500" lnSpcReduction="10000"/>
          </a:bodyPr>
          <a:lstStyle/>
          <a:p>
            <a:pPr>
              <a:defRPr sz="1200">
                <a:latin typeface="Nexa (Headings)"/>
              </a:defRPr>
            </a:pPr>
            <a:r>
              <a:t>Price Correlation | La Vache Qui Rit vs Ficello | Enfant | Carrefour | Weekly Price vs. Share analysis</a:t>
            </a:r>
          </a:p>
          <a:p>
            <a:r>
              <a:t>   P3Y        P12M</a:t>
            </a:r>
          </a:p>
        </p:txBody>
      </p:sp>
      <p:sp>
        <p:nvSpPr>
          <p:cNvPr id="8" name="Title 7">
            <a:extLst>
              <a:ext uri="{FF2B5EF4-FFF2-40B4-BE49-F238E27FC236}">
                <a16:creationId xmlns:a16="http://schemas.microsoft.com/office/drawing/2014/main" id="{610F106D-BD30-F32C-DFA7-589BDED38B3D}"/>
              </a:ext>
            </a:extLst>
          </p:cNvPr>
          <p:cNvSpPr>
            <a:spLocks noGrp="1"/>
          </p:cNvSpPr>
          <p:nvPr>
            <p:ph type="title"/>
          </p:nvPr>
        </p:nvSpPr>
        <p:spPr>
          <a:xfrm>
            <a:off x="504000" y="-1"/>
            <a:ext cx="8136000" cy="771525"/>
          </a:xfrm>
          <a:noFill/>
        </p:spPr>
        <p:txBody>
          <a:bodyPr vert="horz"/>
          <a:lstStyle/>
          <a:p>
            <a:pPr>
              <a:defRPr sz="1600">
                <a:latin typeface="Nexa Bold"/>
              </a:defRPr>
            </a:pPr>
            <a:r>
              <a:rPr lang="en-GB" dirty="0">
                <a:highlight>
                  <a:srgbClr val="FFFF00"/>
                </a:highlight>
              </a:rPr>
              <a:t>Price Correlation Analysis P3Y</a:t>
            </a:r>
            <a:r>
              <a:rPr lang="en-US" dirty="0">
                <a:highlight>
                  <a:srgbClr val="FFFF00"/>
                </a:highlight>
              </a:rPr>
              <a:t> </a:t>
            </a:r>
            <a:r>
              <a:rPr lang="en-US" dirty="0">
                <a:solidFill>
                  <a:schemeClr val="bg2">
                    <a:lumMod val="90000"/>
                  </a:schemeClr>
                </a:solidFill>
                <a:highlight>
                  <a:srgbClr val="FFFF00"/>
                </a:highlight>
              </a:rPr>
              <a:t>(Replace with SO WHAT)</a:t>
            </a:r>
          </a:p>
        </p:txBody>
      </p:sp>
      <p:sp>
        <p:nvSpPr>
          <p:cNvPr id="10" name="Oval 9">
            <a:extLst>
              <a:ext uri="{FF2B5EF4-FFF2-40B4-BE49-F238E27FC236}">
                <a16:creationId xmlns:a16="http://schemas.microsoft.com/office/drawing/2014/main" id="{52EA04EF-2A3A-3B82-AEB9-08FFA3F352C0}"/>
              </a:ext>
            </a:extLst>
          </p:cNvPr>
          <p:cNvSpPr/>
          <p:nvPr/>
        </p:nvSpPr>
        <p:spPr>
          <a:xfrm>
            <a:off x="1029497" y="940437"/>
            <a:ext cx="108000" cy="10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11" name="Oval 10">
            <a:extLst>
              <a:ext uri="{FF2B5EF4-FFF2-40B4-BE49-F238E27FC236}">
                <a16:creationId xmlns:a16="http://schemas.microsoft.com/office/drawing/2014/main" id="{ACFFAEB8-B740-FA8B-0B17-3B18AC3F71C3}"/>
              </a:ext>
            </a:extLst>
          </p:cNvPr>
          <p:cNvSpPr/>
          <p:nvPr/>
        </p:nvSpPr>
        <p:spPr>
          <a:xfrm>
            <a:off x="569643" y="941047"/>
            <a:ext cx="108000" cy="108000"/>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rgbClr val="FFFFFF"/>
              </a:solidFill>
              <a:effectLst/>
              <a:uLnTx/>
              <a:uFillTx/>
              <a:latin typeface="Nexa Book"/>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E537FE-5EAF-32EC-DA3B-457EF27D0E2A}"/>
              </a:ext>
            </a:extLst>
          </p:cNvPr>
          <p:cNvSpPr txBox="1"/>
          <p:nvPr/>
        </p:nvSpPr>
        <p:spPr>
          <a:xfrm>
            <a:off x="516426" y="1136783"/>
            <a:ext cx="733488"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a:spAutoFit/>
          </a:bodyPr>
          <a:lstStyle/>
          <a:p>
            <a:pPr marL="0" marR="0" lvl="0" indent="0" algn="l" defTabSz="514350" rtl="0" eaLnBrk="1" fontAlgn="auto" latinLnBrk="0" hangingPunct="1">
              <a:lnSpc>
                <a:spcPct val="100000"/>
              </a:lnSpc>
              <a:spcBef>
                <a:spcPts val="0"/>
              </a:spcBef>
              <a:spcAft>
                <a:spcPts val="0"/>
              </a:spcAft>
              <a:buClrTx/>
              <a:buSzTx/>
              <a:buFontTx/>
              <a:buNone/>
              <a:tabLst/>
              <a:defRPr sz="1000" b="0" i="0" u="none" strike="noStrike" kern="1200" baseline="0">
                <a:solidFill>
                  <a:srgbClr val="00A097"/>
                </a:solidFill>
                <a:latin typeface="Nexa Bold" panose="00000800000000000000" pitchFamily="2" charset="0"/>
                <a:ea typeface="+mn-ea"/>
                <a:cs typeface="+mn-cs"/>
              </a:defRPr>
            </a:pPr>
            <a:r>
              <a:rPr kumimoji="0" lang="en-GB"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Dubai Light"/>
              </a:rPr>
              <a:t>Volume share</a:t>
            </a:r>
          </a:p>
        </p:txBody>
      </p:sp>
      <p:sp>
        <p:nvSpPr>
          <p:cNvPr id="3" name="TextBox 2">
            <a:extLst>
              <a:ext uri="{FF2B5EF4-FFF2-40B4-BE49-F238E27FC236}">
                <a16:creationId xmlns:a16="http://schemas.microsoft.com/office/drawing/2014/main" id="{EBF07F25-D1EF-3AD6-D799-CBBBBFE03907}"/>
              </a:ext>
            </a:extLst>
          </p:cNvPr>
          <p:cNvSpPr txBox="1"/>
          <p:nvPr/>
        </p:nvSpPr>
        <p:spPr>
          <a:xfrm>
            <a:off x="7427496" y="4573656"/>
            <a:ext cx="1280160" cy="39586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sz="700">
                <a:solidFill>
                  <a:srgbClr val="575555"/>
                </a:solidFill>
                <a:latin typeface="Nexa Book"/>
              </a:rPr>
              <a:t>--- P3M Average</a:t>
            </a:r>
          </a:p>
          <a:p>
            <a:r>
              <a:rPr sz="700">
                <a:solidFill>
                  <a:srgbClr val="00A097"/>
                </a:solidFill>
                <a:latin typeface="Nexa Book"/>
              </a:rPr>
              <a:t>--- P12M Quarterly Highest</a:t>
            </a:r>
          </a:p>
        </p:txBody>
      </p:sp>
      <p:graphicFrame>
        <p:nvGraphicFramePr>
          <p:cNvPr id="13" name="Chart 12">
            <a:extLst>
              <a:ext uri="{FF2B5EF4-FFF2-40B4-BE49-F238E27FC236}">
                <a16:creationId xmlns:a16="http://schemas.microsoft.com/office/drawing/2014/main" id="{F5445A50-B528-D3F3-B369-347C64572C87}"/>
              </a:ext>
            </a:extLst>
          </p:cNvPr>
          <p:cNvGraphicFramePr/>
          <p:nvPr/>
        </p:nvGraphicFramePr>
        <p:xfrm>
          <a:off x="990897" y="1126441"/>
          <a:ext cx="4025031" cy="36008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78601873-8383-D7DC-94EB-70FB87D8B38D}"/>
              </a:ext>
            </a:extLst>
          </p:cNvPr>
          <p:cNvGraphicFramePr/>
          <p:nvPr/>
        </p:nvGraphicFramePr>
        <p:xfrm>
          <a:off x="4398019" y="1138170"/>
          <a:ext cx="4065796" cy="35882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02678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278</Words>
  <Application>Microsoft Office PowerPoint</Application>
  <PresentationFormat>On-screen Show (16:9)</PresentationFormat>
  <Paragraphs>234</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tos</vt:lpstr>
      <vt:lpstr>Arial</vt:lpstr>
      <vt:lpstr>Nexa</vt:lpstr>
      <vt:lpstr>Nexa Bold</vt:lpstr>
      <vt:lpstr>Nexa Book</vt:lpstr>
      <vt:lpstr>Nexa Book Italic</vt:lpstr>
      <vt:lpstr>Open Sans</vt:lpstr>
      <vt:lpstr>PricingOne Light Template Oct 2024</vt:lpstr>
      <vt:lpstr>think-cell Slide</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lpstr>Price Correlation Analysis P3Y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09T10: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